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62"/>
  </p:notesMasterIdLst>
  <p:handoutMasterIdLst>
    <p:handoutMasterId r:id="rId63"/>
  </p:handoutMasterIdLst>
  <p:sldIdLst>
    <p:sldId id="256" r:id="rId5"/>
    <p:sldId id="272" r:id="rId6"/>
    <p:sldId id="276" r:id="rId7"/>
    <p:sldId id="277" r:id="rId8"/>
    <p:sldId id="275" r:id="rId9"/>
    <p:sldId id="288" r:id="rId10"/>
    <p:sldId id="278" r:id="rId11"/>
    <p:sldId id="281" r:id="rId12"/>
    <p:sldId id="280" r:id="rId13"/>
    <p:sldId id="284" r:id="rId14"/>
    <p:sldId id="285" r:id="rId15"/>
    <p:sldId id="286" r:id="rId16"/>
    <p:sldId id="282" r:id="rId17"/>
    <p:sldId id="289" r:id="rId18"/>
    <p:sldId id="290" r:id="rId19"/>
    <p:sldId id="372" r:id="rId20"/>
    <p:sldId id="369" r:id="rId21"/>
    <p:sldId id="359" r:id="rId22"/>
    <p:sldId id="357" r:id="rId23"/>
    <p:sldId id="360" r:id="rId24"/>
    <p:sldId id="295" r:id="rId25"/>
    <p:sldId id="334" r:id="rId26"/>
    <p:sldId id="335" r:id="rId27"/>
    <p:sldId id="336" r:id="rId28"/>
    <p:sldId id="337" r:id="rId29"/>
    <p:sldId id="338" r:id="rId30"/>
    <p:sldId id="339" r:id="rId31"/>
    <p:sldId id="340" r:id="rId32"/>
    <p:sldId id="308" r:id="rId33"/>
    <p:sldId id="358" r:id="rId34"/>
    <p:sldId id="361" r:id="rId35"/>
    <p:sldId id="341" r:id="rId36"/>
    <p:sldId id="342" r:id="rId37"/>
    <p:sldId id="343" r:id="rId38"/>
    <p:sldId id="344" r:id="rId39"/>
    <p:sldId id="345" r:id="rId40"/>
    <p:sldId id="346" r:id="rId41"/>
    <p:sldId id="347" r:id="rId42"/>
    <p:sldId id="373" r:id="rId43"/>
    <p:sldId id="349" r:id="rId44"/>
    <p:sldId id="348" r:id="rId45"/>
    <p:sldId id="350" r:id="rId46"/>
    <p:sldId id="351" r:id="rId47"/>
    <p:sldId id="352" r:id="rId48"/>
    <p:sldId id="353" r:id="rId49"/>
    <p:sldId id="355" r:id="rId50"/>
    <p:sldId id="356" r:id="rId51"/>
    <p:sldId id="264" r:id="rId52"/>
    <p:sldId id="263" r:id="rId53"/>
    <p:sldId id="268" r:id="rId54"/>
    <p:sldId id="374" r:id="rId55"/>
    <p:sldId id="370" r:id="rId56"/>
    <p:sldId id="368" r:id="rId57"/>
    <p:sldId id="366" r:id="rId58"/>
    <p:sldId id="367" r:id="rId59"/>
    <p:sldId id="371" r:id="rId60"/>
    <p:sldId id="274" r:id="rId61"/>
  </p:sldIdLst>
  <p:sldSz cx="9144000" cy="5143500" type="screen16x9"/>
  <p:notesSz cx="6858000" cy="9144000"/>
  <p:custDataLst>
    <p:tags r:id="rId64"/>
  </p:custDataLst>
  <p:defaultTextStyle>
    <a:defPPr>
      <a:defRPr lang="nl-NL"/>
    </a:defPPr>
    <a:lvl1pPr marL="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441" userDrawn="1">
          <p15:clr>
            <a:srgbClr val="A4A3A4"/>
          </p15:clr>
        </p15:guide>
        <p15:guide id="3" orient="horz" pos="2232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pos="113" userDrawn="1">
          <p15:clr>
            <a:srgbClr val="A4A3A4"/>
          </p15:clr>
        </p15:guide>
        <p15:guide id="6" pos="3243" userDrawn="1">
          <p15:clr>
            <a:srgbClr val="A4A3A4"/>
          </p15:clr>
        </p15:guide>
        <p15:guide id="7" pos="5647" userDrawn="1">
          <p15:clr>
            <a:srgbClr val="A4A3A4"/>
          </p15:clr>
        </p15:guide>
        <p15:guide id="8" pos="49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EF5"/>
    <a:srgbClr val="2367A6"/>
    <a:srgbClr val="4B7BBC"/>
    <a:srgbClr val="45C3D1"/>
    <a:srgbClr val="AF51F4"/>
    <a:srgbClr val="F34F24"/>
    <a:srgbClr val="00636C"/>
    <a:srgbClr val="AFD878"/>
    <a:srgbClr val="595959"/>
    <a:srgbClr val="1C7D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2F2280-CC91-2AF0-90D4-AC5A61AE9C05}" v="4" dt="2024-06-17T09:25:30.1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3745"/>
    <p:restoredTop sz="94690"/>
  </p:normalViewPr>
  <p:slideViewPr>
    <p:cSldViewPr showGuides="1">
      <p:cViewPr varScale="1">
        <p:scale>
          <a:sx n="128" d="100"/>
          <a:sy n="128" d="100"/>
        </p:scale>
        <p:origin x="176" y="496"/>
      </p:cViewPr>
      <p:guideLst>
        <p:guide orient="horz" pos="1620"/>
        <p:guide orient="horz" pos="441"/>
        <p:guide orient="horz" pos="2232"/>
        <p:guide pos="2880"/>
        <p:guide pos="113"/>
        <p:guide pos="3243"/>
        <p:guide pos="5647"/>
        <p:guide pos="49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gs" Target="tags/tag1.xml"/><Relationship Id="rId69" Type="http://schemas.microsoft.com/office/2016/11/relationships/changesInfo" Target="changesInfos/changesInfo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notesMaster" Target="notesMasters/notesMaster1.xml"/><Relationship Id="rId7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nnes Haemers" userId="fd8c858a-d145-486e-b00f-148c02e6cbe7" providerId="ADAL" clId="{557048C6-8D63-4017-88B9-E656022DDFFA}"/>
    <pc:docChg chg="undo redo custSel addSld delSld modSld modMainMaster">
      <pc:chgData name="Wannes Haemers" userId="fd8c858a-d145-486e-b00f-148c02e6cbe7" providerId="ADAL" clId="{557048C6-8D63-4017-88B9-E656022DDFFA}" dt="2024-03-05T14:43:08.855" v="25" actId="680"/>
      <pc:docMkLst>
        <pc:docMk/>
      </pc:docMkLst>
      <pc:sldChg chg="addSp delSp modSp mod chgLayout">
        <pc:chgData name="Wannes Haemers" userId="fd8c858a-d145-486e-b00f-148c02e6cbe7" providerId="ADAL" clId="{557048C6-8D63-4017-88B9-E656022DDFFA}" dt="2024-03-05T14:41:57.780" v="8" actId="6264"/>
        <pc:sldMkLst>
          <pc:docMk/>
          <pc:sldMk cId="1861979178" sldId="259"/>
        </pc:sldMkLst>
        <pc:spChg chg="add del mod ord">
          <ac:chgData name="Wannes Haemers" userId="fd8c858a-d145-486e-b00f-148c02e6cbe7" providerId="ADAL" clId="{557048C6-8D63-4017-88B9-E656022DDFFA}" dt="2024-03-05T14:41:57.780" v="8" actId="6264"/>
          <ac:spMkLst>
            <pc:docMk/>
            <pc:sldMk cId="1861979178" sldId="259"/>
            <ac:spMk id="2" creationId="{D86A034F-7FF0-A8E6-51B5-78CCB8E05F8D}"/>
          </ac:spMkLst>
        </pc:spChg>
        <pc:spChg chg="add del mod ord">
          <ac:chgData name="Wannes Haemers" userId="fd8c858a-d145-486e-b00f-148c02e6cbe7" providerId="ADAL" clId="{557048C6-8D63-4017-88B9-E656022DDFFA}" dt="2024-03-05T14:41:57.780" v="8" actId="6264"/>
          <ac:spMkLst>
            <pc:docMk/>
            <pc:sldMk cId="1861979178" sldId="259"/>
            <ac:spMk id="3" creationId="{C5840A95-1298-FC08-93E6-0BDC4A439C19}"/>
          </ac:spMkLst>
        </pc:spChg>
      </pc:sldChg>
      <pc:sldChg chg="addSp delSp modSp mod modClrScheme chgLayout">
        <pc:chgData name="Wannes Haemers" userId="fd8c858a-d145-486e-b00f-148c02e6cbe7" providerId="ADAL" clId="{557048C6-8D63-4017-88B9-E656022DDFFA}" dt="2024-03-05T14:41:47.936" v="6" actId="700"/>
        <pc:sldMkLst>
          <pc:docMk/>
          <pc:sldMk cId="753480303" sldId="272"/>
        </pc:sldMkLst>
        <pc:spChg chg="add del mod ord">
          <ac:chgData name="Wannes Haemers" userId="fd8c858a-d145-486e-b00f-148c02e6cbe7" providerId="ADAL" clId="{557048C6-8D63-4017-88B9-E656022DDFFA}" dt="2024-03-05T14:41:47.936" v="6" actId="700"/>
          <ac:spMkLst>
            <pc:docMk/>
            <pc:sldMk cId="753480303" sldId="272"/>
            <ac:spMk id="2" creationId="{D1F161C6-42D6-860F-08F9-2D76A902B4BC}"/>
          </ac:spMkLst>
        </pc:spChg>
        <pc:spChg chg="add del mod ord">
          <ac:chgData name="Wannes Haemers" userId="fd8c858a-d145-486e-b00f-148c02e6cbe7" providerId="ADAL" clId="{557048C6-8D63-4017-88B9-E656022DDFFA}" dt="2024-03-05T14:41:47.936" v="6" actId="700"/>
          <ac:spMkLst>
            <pc:docMk/>
            <pc:sldMk cId="753480303" sldId="272"/>
            <ac:spMk id="3" creationId="{04870A2D-AFB2-829A-3419-E9ADC9C06E92}"/>
          </ac:spMkLst>
        </pc:spChg>
      </pc:sldChg>
      <pc:sldChg chg="addSp delSp modSp mod chgLayout">
        <pc:chgData name="Wannes Haemers" userId="fd8c858a-d145-486e-b00f-148c02e6cbe7" providerId="ADAL" clId="{557048C6-8D63-4017-88B9-E656022DDFFA}" dt="2024-03-05T14:42:58.867" v="14" actId="700"/>
        <pc:sldMkLst>
          <pc:docMk/>
          <pc:sldMk cId="3944920798" sldId="274"/>
        </pc:sldMkLst>
        <pc:spChg chg="add del mod ord">
          <ac:chgData name="Wannes Haemers" userId="fd8c858a-d145-486e-b00f-148c02e6cbe7" providerId="ADAL" clId="{557048C6-8D63-4017-88B9-E656022DDFFA}" dt="2024-03-05T14:42:58.867" v="14" actId="700"/>
          <ac:spMkLst>
            <pc:docMk/>
            <pc:sldMk cId="3944920798" sldId="274"/>
            <ac:spMk id="3" creationId="{D365861E-44A7-E486-D3AE-BA9871204A2D}"/>
          </ac:spMkLst>
        </pc:spChg>
        <pc:spChg chg="add del mod ord">
          <ac:chgData name="Wannes Haemers" userId="fd8c858a-d145-486e-b00f-148c02e6cbe7" providerId="ADAL" clId="{557048C6-8D63-4017-88B9-E656022DDFFA}" dt="2024-03-05T14:42:58.867" v="14" actId="700"/>
          <ac:spMkLst>
            <pc:docMk/>
            <pc:sldMk cId="3944920798" sldId="274"/>
            <ac:spMk id="4" creationId="{F1B5806E-1065-57A7-606D-8D943D888FBC}"/>
          </ac:spMkLst>
        </pc:spChg>
      </pc:sldChg>
      <pc:sldChg chg="new add del">
        <pc:chgData name="Wannes Haemers" userId="fd8c858a-d145-486e-b00f-148c02e6cbe7" providerId="ADAL" clId="{557048C6-8D63-4017-88B9-E656022DDFFA}" dt="2024-03-05T14:43:08.855" v="25" actId="680"/>
        <pc:sldMkLst>
          <pc:docMk/>
          <pc:sldMk cId="1955500602" sldId="275"/>
        </pc:sldMkLst>
      </pc:sldChg>
      <pc:sldChg chg="addSp delSp modSp new del mod modClrScheme chgLayout">
        <pc:chgData name="Wannes Haemers" userId="fd8c858a-d145-486e-b00f-148c02e6cbe7" providerId="ADAL" clId="{557048C6-8D63-4017-88B9-E656022DDFFA}" dt="2024-03-05T14:43:02.541" v="17" actId="680"/>
        <pc:sldMkLst>
          <pc:docMk/>
          <pc:sldMk cId="2277263428" sldId="276"/>
        </pc:sldMkLst>
        <pc:spChg chg="add del mod ord">
          <ac:chgData name="Wannes Haemers" userId="fd8c858a-d145-486e-b00f-148c02e6cbe7" providerId="ADAL" clId="{557048C6-8D63-4017-88B9-E656022DDFFA}" dt="2024-03-05T14:43:02.059" v="16" actId="700"/>
          <ac:spMkLst>
            <pc:docMk/>
            <pc:sldMk cId="2277263428" sldId="276"/>
            <ac:spMk id="2" creationId="{548F3756-90DF-82AB-5378-0EF30ED3AF18}"/>
          </ac:spMkLst>
        </pc:spChg>
        <pc:spChg chg="add del mod ord">
          <ac:chgData name="Wannes Haemers" userId="fd8c858a-d145-486e-b00f-148c02e6cbe7" providerId="ADAL" clId="{557048C6-8D63-4017-88B9-E656022DDFFA}" dt="2024-03-05T14:43:02.059" v="16" actId="700"/>
          <ac:spMkLst>
            <pc:docMk/>
            <pc:sldMk cId="2277263428" sldId="276"/>
            <ac:spMk id="3" creationId="{29B4BB57-9133-F8FC-CC7E-AF5974A1CAD8}"/>
          </ac:spMkLst>
        </pc:spChg>
        <pc:spChg chg="add del mod ord">
          <ac:chgData name="Wannes Haemers" userId="fd8c858a-d145-486e-b00f-148c02e6cbe7" providerId="ADAL" clId="{557048C6-8D63-4017-88B9-E656022DDFFA}" dt="2024-03-05T14:43:02.059" v="16" actId="700"/>
          <ac:spMkLst>
            <pc:docMk/>
            <pc:sldMk cId="2277263428" sldId="276"/>
            <ac:spMk id="4" creationId="{46C44E19-CB93-933C-9577-C02C708CDAE0}"/>
          </ac:spMkLst>
        </pc:spChg>
        <pc:spChg chg="add del mod ord">
          <ac:chgData name="Wannes Haemers" userId="fd8c858a-d145-486e-b00f-148c02e6cbe7" providerId="ADAL" clId="{557048C6-8D63-4017-88B9-E656022DDFFA}" dt="2024-03-05T14:43:02.059" v="16" actId="700"/>
          <ac:spMkLst>
            <pc:docMk/>
            <pc:sldMk cId="2277263428" sldId="276"/>
            <ac:spMk id="5" creationId="{3AD88EE4-2463-3304-B240-4A8C6077003C}"/>
          </ac:spMkLst>
        </pc:spChg>
        <pc:spChg chg="add del mod ord">
          <ac:chgData name="Wannes Haemers" userId="fd8c858a-d145-486e-b00f-148c02e6cbe7" providerId="ADAL" clId="{557048C6-8D63-4017-88B9-E656022DDFFA}" dt="2024-03-05T14:43:01.438" v="15" actId="700"/>
          <ac:spMkLst>
            <pc:docMk/>
            <pc:sldMk cId="2277263428" sldId="276"/>
            <ac:spMk id="6" creationId="{B2E289E4-ED1C-819B-2683-84E4AE577069}"/>
          </ac:spMkLst>
        </pc:spChg>
        <pc:spChg chg="add del mod ord">
          <ac:chgData name="Wannes Haemers" userId="fd8c858a-d145-486e-b00f-148c02e6cbe7" providerId="ADAL" clId="{557048C6-8D63-4017-88B9-E656022DDFFA}" dt="2024-03-05T14:43:01.438" v="15" actId="700"/>
          <ac:spMkLst>
            <pc:docMk/>
            <pc:sldMk cId="2277263428" sldId="276"/>
            <ac:spMk id="7" creationId="{E22F45F8-DE57-0584-8D01-4FD1FC374F0D}"/>
          </ac:spMkLst>
        </pc:spChg>
      </pc:sldChg>
      <pc:sldMasterChg chg="modSldLayout">
        <pc:chgData name="Wannes Haemers" userId="fd8c858a-d145-486e-b00f-148c02e6cbe7" providerId="ADAL" clId="{557048C6-8D63-4017-88B9-E656022DDFFA}" dt="2024-03-05T14:43:08.355" v="24" actId="478"/>
        <pc:sldMasterMkLst>
          <pc:docMk/>
          <pc:sldMasterMk cId="1177872478" sldId="2147483648"/>
        </pc:sldMasterMkLst>
        <pc:sldLayoutChg chg="addSp delSp mod">
          <pc:chgData name="Wannes Haemers" userId="fd8c858a-d145-486e-b00f-148c02e6cbe7" providerId="ADAL" clId="{557048C6-8D63-4017-88B9-E656022DDFFA}" dt="2024-03-05T14:43:07.919" v="23" actId="478"/>
          <pc:sldLayoutMkLst>
            <pc:docMk/>
            <pc:sldMasterMk cId="1177872478" sldId="2147483648"/>
            <pc:sldLayoutMk cId="1447247901" sldId="2147483650"/>
          </pc:sldLayoutMkLst>
          <pc:spChg chg="add del">
            <ac:chgData name="Wannes Haemers" userId="fd8c858a-d145-486e-b00f-148c02e6cbe7" providerId="ADAL" clId="{557048C6-8D63-4017-88B9-E656022DDFFA}" dt="2024-03-05T14:43:07.919" v="23" actId="478"/>
            <ac:spMkLst>
              <pc:docMk/>
              <pc:sldMasterMk cId="1177872478" sldId="2147483648"/>
              <pc:sldLayoutMk cId="1447247901" sldId="2147483650"/>
              <ac:spMk id="13" creationId="{00000000-0000-0000-0000-000000000000}"/>
            </ac:spMkLst>
          </pc:spChg>
        </pc:sldLayoutChg>
        <pc:sldLayoutChg chg="addSp delSp mod">
          <pc:chgData name="Wannes Haemers" userId="fd8c858a-d145-486e-b00f-148c02e6cbe7" providerId="ADAL" clId="{557048C6-8D63-4017-88B9-E656022DDFFA}" dt="2024-03-05T14:43:08.355" v="24" actId="478"/>
          <pc:sldLayoutMkLst>
            <pc:docMk/>
            <pc:sldMasterMk cId="1177872478" sldId="2147483648"/>
            <pc:sldLayoutMk cId="3619130289" sldId="2147483655"/>
          </pc:sldLayoutMkLst>
          <pc:spChg chg="add del">
            <ac:chgData name="Wannes Haemers" userId="fd8c858a-d145-486e-b00f-148c02e6cbe7" providerId="ADAL" clId="{557048C6-8D63-4017-88B9-E656022DDFFA}" dt="2024-03-05T14:43:08.355" v="24" actId="478"/>
            <ac:spMkLst>
              <pc:docMk/>
              <pc:sldMasterMk cId="1177872478" sldId="2147483648"/>
              <pc:sldLayoutMk cId="3619130289" sldId="2147483655"/>
              <ac:spMk id="14" creationId="{00000000-0000-0000-0000-000000000000}"/>
            </ac:spMkLst>
          </pc:spChg>
        </pc:sldLayoutChg>
        <pc:sldLayoutChg chg="addSp delSp mod">
          <pc:chgData name="Wannes Haemers" userId="fd8c858a-d145-486e-b00f-148c02e6cbe7" providerId="ADAL" clId="{557048C6-8D63-4017-88B9-E656022DDFFA}" dt="2024-03-05T14:43:07.506" v="22" actId="478"/>
          <pc:sldLayoutMkLst>
            <pc:docMk/>
            <pc:sldMasterMk cId="1177872478" sldId="2147483648"/>
            <pc:sldLayoutMk cId="1249224999" sldId="2147483659"/>
          </pc:sldLayoutMkLst>
          <pc:spChg chg="add del">
            <ac:chgData name="Wannes Haemers" userId="fd8c858a-d145-486e-b00f-148c02e6cbe7" providerId="ADAL" clId="{557048C6-8D63-4017-88B9-E656022DDFFA}" dt="2024-03-05T14:43:07.506" v="22" actId="478"/>
            <ac:spMkLst>
              <pc:docMk/>
              <pc:sldMasterMk cId="1177872478" sldId="2147483648"/>
              <pc:sldLayoutMk cId="1249224999" sldId="2147483659"/>
              <ac:spMk id="16" creationId="{00000000-0000-0000-0000-000000000000}"/>
            </ac:spMkLst>
          </pc:spChg>
        </pc:sldLayoutChg>
      </pc:sldMasterChg>
    </pc:docChg>
  </pc:docChgLst>
  <pc:docChgLst>
    <pc:chgData name="Louise Hunskaar Abrahamsen" userId="S::louise@urban-initiative.eu::22917592-d4e7-46b1-871d-6ba061d9f674" providerId="AD" clId="Web-{182F2280-CC91-2AF0-90D4-AC5A61AE9C05}"/>
    <pc:docChg chg="modSld">
      <pc:chgData name="Louise Hunskaar Abrahamsen" userId="S::louise@urban-initiative.eu::22917592-d4e7-46b1-871d-6ba061d9f674" providerId="AD" clId="Web-{182F2280-CC91-2AF0-90D4-AC5A61AE9C05}" dt="2024-06-17T09:25:30.046" v="1"/>
      <pc:docMkLst>
        <pc:docMk/>
      </pc:docMkLst>
      <pc:sldChg chg="modSp">
        <pc:chgData name="Louise Hunskaar Abrahamsen" userId="S::louise@urban-initiative.eu::22917592-d4e7-46b1-871d-6ba061d9f674" providerId="AD" clId="Web-{182F2280-CC91-2AF0-90D4-AC5A61AE9C05}" dt="2024-06-17T09:25:30.046" v="1"/>
        <pc:sldMkLst>
          <pc:docMk/>
          <pc:sldMk cId="753480303" sldId="272"/>
        </pc:sldMkLst>
        <pc:spChg chg="mod">
          <ac:chgData name="Louise Hunskaar Abrahamsen" userId="S::louise@urban-initiative.eu::22917592-d4e7-46b1-871d-6ba061d9f674" providerId="AD" clId="Web-{182F2280-CC91-2AF0-90D4-AC5A61AE9C05}" dt="2024-06-17T09:25:30.046" v="1"/>
          <ac:spMkLst>
            <pc:docMk/>
            <pc:sldMk cId="753480303" sldId="272"/>
            <ac:spMk id="6" creationId="{BCFD2D07-A47F-FDA8-CA72-104D1F28CF4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E8BF0C-178A-4E8A-8C32-063FBB5EB88A}" type="datetimeFigureOut">
              <a:rPr lang="en-US" smtClean="0"/>
              <a:t>10/15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DAA50D-23BC-4F9A-B86D-5AABC3CB1C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6694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78 5121 24575,'-3'0'0,"-1"3"0,3-2 0,-1 0 0,1 2 0,-3-1 0,3-1 0,-3 1 0,4 1 0,-2-1 0,-1 0 0,1 0 0,-2 7 0,-3 1 0,-218 288 0,221-290 0,-2 1 0,1-2 0,-1-1 0,0 3 0,-1-4 0,-12 12 0,18-17 0,1 0 0,-1 0 0,1 2 0,0-2 0,-1 0 0,1 0 0,-1 0 0,1 1 0,-3-1 0,3 0 0,-1 0 0,1 0 0,0 0 0,-1 0 0,1 0 0,-2 0 0,2 0 0,-1 0 0,1 0 0,-1 0 0,1-1 0,-2 1 0,2 0 0,-2 0 0,2 0 0,0 0 0,-1-2 0,1 2 0,-2 0 0,2 0 0,0-2 0,0 2 0,0-1 0,-4-1 0,3-2 0,0 2 0,-2-1 0,2-2 0,1 2 0,-1 1 0,0-2 0,1 0 0,0 2 0,-2-3 0,2-1 0,2-122 0,0 94 0,-1 1 0,-2-1 0,-4-40 0,5 71 0,-2 2 0,2 0 0,0-3 0,-2 3 0,2-2 0,-1 2 0,1-1 0,-1-1 0,0 1 0,1 2 0,-1-4 0,-2 3 0,2 0 0,0-2 0,-2 2 0,3 0 0,-2 0 0,1 0 0,-3-1 0,3 0 0,0 1 0,-1 1 0,0-2 0,-1 1 0,1 1 0,1-1 0,0 1 0,-3 0 0,3-1 0,-3 1 0,4 0 0,-4 0 0,3 0 0,-2 0 0,1 0 0,0 0 0,1 0 0,-3 0 0,3 1 0,-2-1 0,2 0 0,-2 1 0,1 0 0,-1-1 0,3 2 0,-5 1 0,-16 6 0,3 1 0,-2 2 0,-29 21 0,33-22 0,-169 137 0,185-148 0,-3 0 0,3 0 0,0 0 0,0 0 0,0 1 0,0-1 0,0 0 0,-1 0 0,1 3 0,0-3 0,-2 0 0,2 0 0,0 0 0,-2 0 0,2 0 0,-1 0 0,1 1 0,0-1 0,-2 0 0,2 0 0,0 0 0,-1 0 0,1 0 0,-2 0 0,2 0 0,0-1 0,-1 1 0,1 0 0,-1 0 0,1 0 0,0 0 0,-1 0 0,1-3 0,-3-17 0,28-40 0,-22 49 0,68-164 0,35-86 0,-98 213 0,-15 39 0,-11 26 0,-12 27 0,4 1 0,0 1 0,-31 86 0,-10 12 0,84-228 0,10 4 0,2 2 0,40-76 0,-67 150 0,-1 0 0,0 2 0,1-2 0,1 2 0,-1 0 0,-2-1 0,4 1 0,-3-1 0,3 0 0,-3 1 0,3-1 0,2-1 0,-5 4 0,0-1 0,-1 1 0,1 0 0,2 0 0,-2-1 0,0 1 0,-1 0 0,3 0 0,-3 0 0,1 0 0,1 0 0,0 0 0,-1 0 0,-1 0 0,2 1 0,-1-1 0,-1 0 0,3 0 0,-3 1 0,1-1 0,0 0 0,2 2 0,-2 0 0,6 3 0,-1 2 0,2-1 0,-1 1 0,-2 1 0,1-1 0,6 16 0,-3-13 0,13 26 0,-12-15 0,4-3 0,-1 2 0,-1-3 0,24 23 0,-29-35 0,-1 1 0,1-3 0,-1 2 0,2 1 0,0-3 0,1 2 0,-2-2 0,2 1 0,-3-2 0,3 1 0,0-1 0,-1-1 0,1 1 0,0 0 0,11-2 0,28 0 0,-2-2 0,3-3 0,-3-1 0,1-3 0,68-20 0,216-94 0,-328 122 0,90-42 0,-70 30 0,2 1 0,-3 2 0,4-1 0,-1 5 0,41-11 0,-65 17 0,1-2 0,-1 2 0,2 0 0,-1 0 0,0 0 0,-2 0 0,1 0 0,3 0 0,-3 0 0,2 0 0,-2 0 0,1 2 0,0-2 0,-1 0 0,1 0 0,-1 0 0,1 1 0,-1 2 0,0-3 0,0 1 0,2 0 0,-2-1 0,1 2 0,-2 0 0,2-2 0,0 2 0,-1-1 0,0 3 0,2-2 0,-2 2 0,0 1 0,0-1 0,-1-1 0,0 1 0,2 1 0,-2 0 0,0-3 0,0 3 0,0-1 0,-2 0 0,1 4 0,-5 19 0,-1-2 0,-22 49 0,24-64 0,-105 225 0,57-129 0,-56 164 0,106-257 0,8-10 0,15-25 0,30-45 0,12-26 0,-26 45 0,-4-2 0,-1-2 0,27-65 0,-55 90 0,-18 27 0,-35 28 0,-63 61 0,2 6 0,8 2 0,2 6 0,4 5 0,8 2 0,-99 151 0,185-256 0,-12 18 0,-1 1 0,3-1 0,-18 44 0,30-66 0,1-1 0,-1 1 0,1 2 0,0-3 0,-1 1 0,1-1 0,0 0 0,0 3 0,-1-2 0,1 0 0,0-1 0,0 2 0,0 0 0,0-1 0,0-1 0,0 1 0,0 0 0,0 0 0,0-1 0,1 3 0,-1-2 0,0-1 0,0 3 0,1-3 0,-1 0 0,0 1 0,1 1 0,-1-2 0,1 1 0,-1-1 0,2 2 0,-2 0 0,2-2 0,-2 1 0,1-1 0,1 0 0,-2 0 0,1 0 0,0 3 0,-1-3 0,1 0 0,2 0 0,-3 1 0,1-1 0,0 0 0,1 0 0,-2 0 0,0 0 0,2 0 0,0 0 0,-1 0 0,-1 0 0,2 0 0,0 0 0,-1 0 0,-1 0 0,1 0 0,1-1 0,-2 1 0,2-3 0,80-23 0,-69 19 0,211-89 0,213-78 0,-432 173 0,3-1 0,-3 0 0,2 1 0,-1-1 0,2 1 0,-2-1 0,2 2 0,-3 0 0,2 0 0,1 0 0,11 3 0,-16-1 0,0-1 0,0 1 0,-1-1 0,2 1 0,-2 1 0,2-1 0,-4-1 0,4 2 0,-1-1 0,-2 1 0,2-1 0,-2 2 0,0-1 0,2 0 0,-1-1 0,-1 2 0,1-2 0,-2 1 0,1 0 0,1 2 0,-2-3 0,1 1 0,-1 1 0,0 6 0,5 57 0,-2-3 0,-3 3 0,-17 112 0,3-64 0,20-62 0,-6-51 0,2-2 0,-2 1 0,1-1 0,-1 3 0,1-2 0,0 0 0,-1 2 0,3-2 0,-2-1 0,0 0 0,-1 2 0,1 0 0,1-2 0,-1 1 0,1-1 0,-1 2 0,1-2 0,0 1 0,2 1 0,2-2 0,1 0 0,-1 0 0,2 0 0,0-2 0,-1 2 0,-2-1 0,4-1 0,-3-1 0,0 1 0,1 1 0,10-8 0,152-71 0,-6-8 0,252-175 0,-355 224 0,-49 33 0,-7 15 0,-20 26 0,-38 52 0,52-83 0,-43 67 0,-40 60 0,80-107 0,22-24 0,42-35 0,-37 22 0,83-23 0,-84 30 0,-21 6 0,0 0 0,0 0 0,0 0 0,-2 0 0,2 1 0,0-1 0,0 0 0,0 0 0,0 0 0,0 0 0,0 2 0,0-2 0,0 0 0,0 0 0,0 0 0,0 1 0,0-1 0,0 0 0,0 0 0,0 0 0,0 2 0,0-2 0,0 0 0,0 0 0,0 1 0,0-1 0,0 0 0,0 0 0,0 0 0,0 0 0,0 1 0,2-1 0,-2 0 0,0 0 0,0 0 0,0 0 0,0 1 0,0-1 0,1 0 0,-1 0 0,0 0 0,0 0 0,0 0 0,0 0 0,2 0 0,-2 0 0,0 3 0,0-3 0,0 0 0,2 0 0,-2 0 0,0 0 0,0 0 0,1 0 0,-1 0 0,0 0 0,0 0 0,0 0 0,1 0 0,-1 0 0,0 0 0,0-3 0,0 3 0,1 0 0,-1 0 0,0 0 0,-21 37 0,17-35 0,0 3 0,3-3 0,-3 3 0,3 0 0,-3-1 0,3 1 0,-1-2 0,0 2 0,-1 6 0,4-10 0,1-1 0,-2 2 0,2-2 0,-1 1 0,0-1 0,0 0 0,0 0 0,2 1 0,-2-1 0,0 0 0,2 0 0,-3 0 0,1 0 0,1 0 0,0 0 0,-1 0 0,1 0 0,-1-1 0,-1 1 0,3 0 0,-2 0 0,0-1 0,4-1 0,48-16 0,-44 15 0,1107-440 0,-757 304 0,142-42 0,-498 181 0,-3-3 0,0 3 0,1 0 0,-1 0 0,0-1 0,0 1 0,3 0 0,-3 0 0,1 0 0,-1 0 0,0 0 0,1 0 0,-1 0 0,2 0 0,-2 0 0,2 0 0,-2 0 0,1 0 0,-1 0 0,1 0 0,-1 0 0,1 0 0,-1 1 0,0-1 0,1 0 0,-1 0 0,3 0 0,-3 3 0,0-3 0,1 1 0,-7 19 0,-35 32 0,32-43 0,-83 111 0,-103 112 0,169-208 0,-3 2 0,0-3 0,1-2 0,-5-1 0,2 0 0,-2-2 0,0-3 0,-2 2 0,0-5 0,0 0 0,0-1 0,-2-2 0,-62 6 0,90-15 0,1 0 0,0 0 0,2 0 0,-2-1 0,-1 1 0,2-2 0,1 0 0,-2-1 0,0 2 0,2-2 0,-1 0 0,-1-2 0,2 3 0,-1-2 0,1 0 0,-10-9 0,7 4 0,2 1 0,-1-2 0,2 0 0,-2 0 0,2 1 0,0-2 0,1 1 0,-1-1 0,-5-17 0,1-15 0,2 0 0,1 0 0,2 0 0,1-69 0,7 78 0,-3 0 0,3 0 0,2 0 0,1 0 0,1 1 0,3-1 0,1 1 0,3 2 0,-1-1 0,3 2 0,-2-2 0,42-52 0,-52 78 0,25-38 0,-29 31 0,-29 20 0,-328 183 0,226-115 0,69-36 0,44-24 0,42-20 0,692-286 0,-709 287 0,59-13 0,-65 17 0,1 0 0,-1 0 0,2 0 0,-2 0 0,0 0 0,2 3 0,-3-3 0,1 0 0,1 0 0,0 1 0,-1-1 0,1 0 0,-2 0 0,1 3 0,1-3 0,-1 1 0,0-1 0,2 1 0,-3 1 0,1-2 0,0 2 0,-1-1 0,2 0 0,-2 0 0,0 0 0,2-1 0,-2 3 0,0-2 0,2 0 0,-2 1 0,0-1 0,1 0 0,-1 1 0,0 0 0,0-1 0,0 1 0,0-2 0,0 2 0,0 2 0,0 0 0,0 0 0,0-1 0,0 1 0,0 0 0,1 1 0,-1-2 0,3 0 0,-2 0 0,-1 1 0,3 0 0,-2-1 0,0 0 0,1 0 0,0 1 0,5 4 0,-5-6 0,2 0 0,1 1 0,-1 0 0,0-2 0,0 1 0,1 0 0,0 0 0,-2 0 0,2-2 0,1 1 0,-1-1 0,7 2 0,53 3 0,-2-4 0,3-1 0,-3-2 0,2-4 0,-1-3 0,-1-2 0,88-26 0,-52 21 0,-72 13 0,-80-3 0,-508-61 0,-315-19 0,870 86 0,1 0 0,-2 0 0,2 0 0,0 0 0,0 1 0,-2-1 0,2 1 0,0 2 0,-2-2 0,3 0 0,-2 2 0,0 0 0,1-1 0,0 1 0,1-1 0,-6 6 0,4-1 0,0-2 0,2 4 0,-1-3 0,2 1 0,-2 2 0,1-2 0,0 1 0,2 1 0,-5 13 0,-14 27 0,-5 20 0,103-157 0,-5-14 0,-42 53 0,1 2 0,4 1 0,2 1 0,1 3 0,3 1 0,62-50 0,-14 43 0,-77 45 0,-1-2 0,0-1 0,0 0 0,-1-1 0,2 0 0,-2 0 0,-2 0 0,2-2 0,-2 3 0,2-4 0,0 0 0,4-10 0,65-90 0,-47 66 0,0-1 0,44-88 0,-65 112 0,3 1 0,-2 0 0,3 0 0,-1 2 0,21-20 0,-20 21 0,2-2 0,-1 2 0,-3-4 0,1 2 0,14-30 0,1-3 0,-23 44 0,-1-1 0,2 0 0,-3 1 0,1-3 0,-2 2 0,0-1 0,2 1 0,-2-12 0,-3 18 0,0 3 0,0-1 0,-1 0 0,1 0 0,0 0 0,-1 1 0,1-2 0,0 0 0,-1 2 0,1-1 0,-2 0 0,2 1 0,-1-3 0,-1 3 0,2 0 0,-2-1 0,2 1 0,-1-3 0,0 3 0,0 0 0,1-1 0,-1 1 0,-2 0 0,2-1 0,1 1 0,-1 0 0,-2 0 0,3 0 0,-1-2 0,1 2 0,-2 0 0,0 0 0,1 0 0,-1 0 0,1 0 0,1 2 0,0-2 0,-5 0 0,-60 10 0,53-7 0,-168 19 0,129-18 0,1 2 0,-1 1 0,2 3 0,2 2 0,-3 2 0,-76 34 0,-37 40 0,96-49 0,1-5 0,-4 0 0,-94 29 0,-167 11 0,142-36 0,149-29 0,-78 18 0,-161 14 0,242-35 0,3 0 0,-2 3 0,-32 9 0,33-6 0,-3-2 0,-54 7 0,1 5 0,73-15 0,1-3 0,-2 0 0,-35 3 0,53-7 0,-1 0 0,1-2 0,-2 2 0,2 0 0,0-1 0,-2 1 0,1-2 0,1 2 0,-1 0 0,1 0 0,-1-2 0,1 0 0,-1 1 0,0 1 0,2-1 0,-1-2 0,-2 2 0,2 1 0,1-2 0,-1 0 0,-2 1 0,3-1 0,-1-1 0,1 2 0,0 0 0,0-2 0,-2 2 0,2 0 0,0-2 0,-2 2 0,2-1 0,0 1 0,0-3 0,0 3 0,0 0 0,0-1 0,2 0 0,-2-1 0,2 0 0,13-93 0,-9 71 0,7-79 0,-7 0 0,-6-172 0,-5 91 0,5-791 0,2 960 0,0 1 0,-1-3 0,3 3 0,1 1 0,8-26 0,-6 23 0,-2 1 0,0-1 0,-1 0 0,3-30 0,-6 25 0,3 1 0,1 0 0,12-37 0,-12 37 0,2 1 0,-3 1 0,1-1 0,0-35 0,-4-57 0,-6-187 0,-1 238 0,-33-111 0,14 70 0,18 50 0,7 44 0,0 2 0,0-1 0,-1-1 0,1 0 0,-1 3 0,0-3 0,-1 2 0,-1-2 0,1 2 0,0-1 0,0 2 0,-3-2 0,2 1 0,-2 0 0,1 0 0,-7-8 0,11 12 0,-2 2 0,2-1 0,-1 1 0,1 0 0,-2-3 0,1 3 0,1 0 0,-2-1 0,0 1 0,2 0 0,0 0 0,-1-1 0,1 1 0,-3 0 0,2 0 0,0 0 0,1 0 0,-3 0 0,2 0 0,1 0 0,0 0 0,-2 0 0,0 1 0,2-1 0,-1 0 0,-1 0 0,2 1 0,-1-1 0,-1 0 0,2 3 0,-2-2 0,-18 33 0,7 45 0,13-79 0,0 195 0,4-128 0,-8 73 0,-9-60 0,-1 32 0,7-76 0,7-36 0,0 0 0,-1 0 0,1 0 0,0 0 0,-1 0 0,1 0 0,0 2 0,-3-2 0,3 0 0,0 0 0,0 0 0,-1 0 0,1 0 0,0 0 0,-1 0 0,1 0 0,0-2 0,-3 2 0,3 0 0,0 0 0,0 0 0,0 0 0,0 0 0,0 0 0,-1-2 0,1 2 0,0 0 0,-2 0 0,2 0 0,0-1 0,0 1 0,0 0 0,-2 0 0,2 0 0,0-2 0,0 2 0,0 0 0,-1-1 0,-39-63 0,30 44 0,-43-76 0,3-2 0,4-2 0,-40-133 0,80 208 0,3-3 0,-1 1 0,3 0 0,1-43 0,1 45 0,-1 1 0,-1 0 0,-2 1 0,2-3 0,-4 3 0,-8-27 0,-8-39 0,21 89 0,0-1 0,0 1 0,0-2 0,0 2 0,-2-2 0,2 2 0,0-1 0,0-1 0,0 2 0,2 0 0,-2 0 0,0-2 0,0 2 0,0-2 0,0 2 0,0-1 0,2 1 0,-2-1 0,0 1 0,0-3 0,0 3 0,0-1 0,0 1 0,2 0 0,-2 0 0,0 0 0,1 0 0,-1-2 0,1 2 0,-1 0 0,3-2 0,-1 2 0,1 2 0,0 0 0,0-2 0,-1 0 0,2 1 0,-3 2 0,3-1 0,-3 0 0,1 0 0,1-2 0,-1 3 0,-1-1 0,2 1 0,2 2 0,58 72 0,-3 2 0,65 116 0,-40-64 0,-65-97 0,3-1 0,0-3 0,2 2 0,1-4 0,2 1 0,1-3 0,2 0 0,-1-1 0,3-2 0,63 34 0,-25-24 0,0-3 0,2-3 0,97 22 0,234 32 0,-291-60 0,-67-14 0,74 16 0,-112-21 0,-2 0 0,2-1 0,0 3 0,-2-2 0,1 3 0,1-2 0,-1 0 0,-1 2 0,0-1 0,1 1 0,9 11 0,-16-16 0,0 0 0,0 1 0,1-1 0,-1 0 0,0 0 0,0 0 0,0 2 0,0-2 0,0 0 0,0 0 0,0 1 0,1-1 0,-1 0 0,0 3 0,0-3 0,0 0 0,0 0 0,0 1 0,0-1 0,0 0 0,0 0 0,0 0 0,0 0 0,-1 0 0,1 0 0,0 3 0,0-3 0,0 0 0,0 0 0,0 1 0,0-1 0,-1 0 0,1 0 0,0 1 0,0-1 0,0 0 0,-1 0 0,1 0 0,0 0 0,0 2 0,0-2 0,-2 0 0,2 0 0,-29 9 0,-29-4 0,57-5 0,-187 6 0,-208-20 0,321 8 0,2-2 0,3-7 0,-2 1 0,-95-36 0,138 39 0,-1-4 0,0 2 0,2-4 0,2 2 0,-1-4 0,-1 0 0,5-1 0,-3-1 0,4-1 0,-1-1 0,4-1 0,-26-33 0,-16-36 0,4-2 0,3 0 0,-62-168 0,-33-92 0,114 281 0,-3 1 0,-2 3 0,-75-96 0,53 79 0,-62-117 0,-16-110-1365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5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6 1 24575,'-5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5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 24575,'0'0'-819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5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352 1066 24575,'-6'-2'0,"2"0"0,-3 1 0,2-1 0,-1-1 0,0 2 0,1-3 0,0 2 0,0-1 0,-1 0 0,1 0 0,1 0 0,0-1 0,0 0 0,-1 1 0,1-2 0,-4-6 0,-62-81 0,66 79 0,-60-77 0,30 43 0,-50-97 0,82 141 0,2-1 0,-1 0 0,-2 1 0,3 0 0,-1-2 0,1 2 0,0-1 0,0-1 0,0 2 0,0-1 0,1 0 0,-1-1 0,3 2 0,-3-1 0,1 2 0,-1-3 0,2 2 0,0-2 0,-1 3 0,2 0 0,-1-3 0,0 2 0,3-5 0,8-7 0,4-2 0,-1 1 0,22-17 0,23-25 0,-25 12 0,79-116 0,-104 145-114,32-67 362,-41 82-319,0-3-1,-1 1 1,-1 0-1,1-1 1,-1 2 0,3 0-1,-3 0 1,0-2 0,0 0-1,0 3 1,0-3-1,-3 1 1,3-1 0,-1 2-1,1-1 1,-1-1-1,-1 3 1,0-3 0,0 2-1,-1-4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3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476 75 24575,'-127'7'0,"-137"19"0,244-22 0,17-4 0,-2 1 0,1-1 0,-1 1 0,2-1 0,-1 0 0,-1 0 0,2-1 0,-2 1 0,1 0 0,-1-1 0,2 0 0,-7-3 0,9 3 0,1 1 0,0 0 0,0 0 0,-3-1 0,3 1 0,0 0 0,0 0 0,0-2 0,-1 2 0,1 0 0,0-1 0,0 1 0,0 0 0,0-2 0,0 2 0,0 0 0,0-1 0,0 1 0,0 0 0,0-2 0,0 2 0,0 0 0,0-2 0,0 2 0,0 0 0,0-1 0,0 1 0,0 0 0,0 0 0,0 0 0,1 0 0,-1 0 0,0-3 0,26-21 0,-13 15 0,-1 1 0,0 1 0,2-1 0,-1 2 0,1 1 0,0-1 0,1 3 0,-3-2 0,4 2 0,-3 1 0,2 1 0,-1-2 0,17 2 0,-8 2 0,1 3 0,-2-2 0,4 3 0,-4-1 0,0 3 0,2-1 0,28 16 0,43 5 0,7 2 0,-94-25 0,-2-2 0,1 1 0,-2 0 0,2 0 0,-1 0 0,0 2 0,0-1 0,-2 2 0,2-2 0,-2 2 0,8 7 0,-11-13 0,2 4 0,-3-3 0,1 3 0,-1-3 0,0 1 0,0-1 0,2 3 0,-2 0 0,0-4 0,0 3 0,0-1 0,0 1 0,0-2 0,0 2 0,-2-1 0,2 2 0,0-3 0,0 2 0,-4 3 0,-26 52 0,25-49 0,0-1 0,0 1 0,2-1 0,-2 2 0,-4 14 0,6 27 0,-1-2 0,3 2 0,7 59 0,-6-107 0,0 2 0,2-1 0,-1 1 0,-1-2 0,2 2 0,0 0 0,-1-1 0,2 1 0,-1-2 0,1 2 0,-1-2 0,0 0 0,2 1 0,0 0 0,-3-1 0,3 0 0,0 0 0,-1 0 0,2-1 0,5 5 0,5 1 0,1 1 0,1-4 0,1 3 0,19 1 0,49 22 0,30 36 0,-82-47 0,0 0 0,1-1 0,2 0 0,1-4 0,-1 0 0,51 11 0,-54-14-136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0 24575,'0'0'-819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415 0 24575,'-12'15'0,"2"0"0,-1 0 0,1 1 0,2 1 0,-1-1 0,-9 32 0,-10 16 0,-7 0 0,-3-3 0,-1 0 0,-84 96 0,109-144-273,1 4 0,1-1 0,1 0 0,-13 25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 24575,'0'0'-819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7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0 24575,'0'0'-819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8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 24575,'0'0'-819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9T21:25:13.149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32 0 24575,'-5'0'0,"-6"0"0,-5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9A39E2-D0DC-4EF4-9FB9-672D0BFB60CA}" type="datetimeFigureOut">
              <a:rPr lang="en-GB" smtClean="0"/>
              <a:t>15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0F3C0A-78FE-47C0-A20E-D00A2CBDC0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042116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25" name="Google Shape;22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6347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8" name="Google Shape;298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2" name="Google Shape;292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hyperlink" Target="https://www.linkedin.com/company/iclei-europe" TargetMode="External"/><Relationship Id="rId3" Type="http://schemas.openxmlformats.org/officeDocument/2006/relationships/hyperlink" Target="http://www.iclei.org/" TargetMode="External"/><Relationship Id="rId7" Type="http://schemas.openxmlformats.org/officeDocument/2006/relationships/hyperlink" Target="https://www.flickr.com/photos/iclei_europe/" TargetMode="External"/><Relationship Id="rId12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icleieurope" TargetMode="External"/><Relationship Id="rId11" Type="http://schemas.openxmlformats.org/officeDocument/2006/relationships/hyperlink" Target="https://open.spotify.com/show/7fIyRNFnzQDKTankuxYjnA" TargetMode="External"/><Relationship Id="rId5" Type="http://schemas.openxmlformats.org/officeDocument/2006/relationships/hyperlink" Target="https://twitter.com/iclei" TargetMode="External"/><Relationship Id="rId10" Type="http://schemas.openxmlformats.org/officeDocument/2006/relationships/image" Target="../media/image14.png"/><Relationship Id="rId4" Type="http://schemas.openxmlformats.org/officeDocument/2006/relationships/hyperlink" Target="https://iclei-europe.org/" TargetMode="External"/><Relationship Id="rId9" Type="http://schemas.openxmlformats.org/officeDocument/2006/relationships/image" Target="../media/image13.png"/><Relationship Id="rId14" Type="http://schemas.openxmlformats.org/officeDocument/2006/relationships/image" Target="../media/image1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9"/>
          <p:cNvSpPr/>
          <p:nvPr userDrawn="1"/>
        </p:nvSpPr>
        <p:spPr>
          <a:xfrm>
            <a:off x="9144000" y="3691"/>
            <a:ext cx="108520" cy="5139811"/>
          </a:xfrm>
          <a:custGeom>
            <a:avLst/>
            <a:gdLst/>
            <a:ahLst/>
            <a:cxnLst/>
            <a:rect l="0" t="0" r="0" b="0"/>
            <a:pathLst>
              <a:path w="211075" h="206683" extrusionOk="0">
                <a:moveTo>
                  <a:pt x="387" y="0"/>
                </a:moveTo>
                <a:lnTo>
                  <a:pt x="0" y="206683"/>
                </a:lnTo>
                <a:lnTo>
                  <a:pt x="211075" y="206545"/>
                </a:lnTo>
                <a:lnTo>
                  <a:pt x="155812" y="30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sp>
      <p:sp>
        <p:nvSpPr>
          <p:cNvPr id="7" name="Shape 10"/>
          <p:cNvSpPr/>
          <p:nvPr userDrawn="1"/>
        </p:nvSpPr>
        <p:spPr>
          <a:xfrm flipH="1">
            <a:off x="9144000" y="-236561"/>
            <a:ext cx="108520" cy="5380061"/>
          </a:xfrm>
          <a:custGeom>
            <a:avLst/>
            <a:gdLst/>
            <a:ahLst/>
            <a:cxnLst/>
            <a:rect l="0" t="0" r="0" b="0"/>
            <a:pathLst>
              <a:path w="211075" h="206683" extrusionOk="0">
                <a:moveTo>
                  <a:pt x="387" y="0"/>
                </a:moveTo>
                <a:lnTo>
                  <a:pt x="0" y="206683"/>
                </a:lnTo>
                <a:lnTo>
                  <a:pt x="211075" y="206545"/>
                </a:lnTo>
                <a:lnTo>
                  <a:pt x="155812" y="3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52516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9552" y="1058863"/>
            <a:ext cx="3744912" cy="30972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1C7DC3"/>
                </a:solidFill>
              </a:defRPr>
            </a:lvl1pPr>
            <a:lvl2pPr marL="457189" indent="0" algn="ctr">
              <a:buNone/>
              <a:defRPr>
                <a:solidFill>
                  <a:srgbClr val="1C7DC3"/>
                </a:solidFill>
              </a:defRPr>
            </a:lvl2pPr>
            <a:lvl3pPr marL="914378" indent="0" algn="ctr">
              <a:buNone/>
              <a:defRPr>
                <a:solidFill>
                  <a:srgbClr val="1C7DC3"/>
                </a:solidFill>
              </a:defRPr>
            </a:lvl3pPr>
            <a:lvl4pPr marL="1371566" indent="0" algn="ctr">
              <a:buNone/>
              <a:defRPr>
                <a:solidFill>
                  <a:srgbClr val="1C7DC3"/>
                </a:solidFill>
              </a:defRPr>
            </a:lvl4pPr>
            <a:lvl5pPr marL="1828754" indent="0" algn="ctr">
              <a:buNone/>
              <a:defRPr>
                <a:solidFill>
                  <a:srgbClr val="1C7D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60727" y="1058863"/>
            <a:ext cx="3816350" cy="31686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1C7DC3"/>
                </a:solidFill>
              </a:defRPr>
            </a:lvl1pPr>
            <a:lvl2pPr marL="457189" indent="0" algn="ctr">
              <a:buNone/>
              <a:defRPr>
                <a:solidFill>
                  <a:srgbClr val="1C7DC3"/>
                </a:solidFill>
              </a:defRPr>
            </a:lvl2pPr>
            <a:lvl3pPr marL="914378" indent="0" algn="ctr">
              <a:buNone/>
              <a:defRPr>
                <a:solidFill>
                  <a:srgbClr val="1C7DC3"/>
                </a:solidFill>
              </a:defRPr>
            </a:lvl3pPr>
            <a:lvl4pPr marL="1371566" indent="0" algn="ctr">
              <a:buNone/>
              <a:defRPr>
                <a:solidFill>
                  <a:srgbClr val="1C7DC3"/>
                </a:solidFill>
              </a:defRPr>
            </a:lvl4pPr>
            <a:lvl5pPr marL="1828754" indent="0" algn="ctr">
              <a:buNone/>
              <a:defRPr>
                <a:solidFill>
                  <a:srgbClr val="1C7D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B7418F8-DA38-5620-4AED-9ED94F02D9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08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339520" y="1257885"/>
            <a:ext cx="4464967" cy="262773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/>
                </a:solidFill>
              </a:defRPr>
            </a:lvl2pPr>
            <a:lvl3pPr marL="914378" indent="0" algn="ctr">
              <a:buNone/>
              <a:defRPr>
                <a:solidFill>
                  <a:schemeClr val="tx1"/>
                </a:solidFill>
              </a:defRPr>
            </a:lvl3pPr>
            <a:lvl4pPr marL="1371566" indent="0" algn="ctr">
              <a:buNone/>
              <a:defRPr>
                <a:solidFill>
                  <a:schemeClr val="tx1"/>
                </a:solidFill>
              </a:defRPr>
            </a:lvl4pPr>
            <a:lvl5pPr marL="1828754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DA11DBA-0A88-38A1-D8EF-EDAA185F0E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157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5288" y="842963"/>
            <a:ext cx="4248150" cy="37449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932364" y="842963"/>
            <a:ext cx="3887787" cy="37449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505336-B960-1955-FA99-AC9AA33CB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5801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9552" y="1058863"/>
            <a:ext cx="3744912" cy="30972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/>
                </a:solidFill>
              </a:defRPr>
            </a:lvl2pPr>
            <a:lvl3pPr marL="914378" indent="0" algn="ctr">
              <a:buNone/>
              <a:defRPr>
                <a:solidFill>
                  <a:schemeClr val="tx1"/>
                </a:solidFill>
              </a:defRPr>
            </a:lvl3pPr>
            <a:lvl4pPr marL="1371566" indent="0" algn="ctr">
              <a:buNone/>
              <a:defRPr>
                <a:solidFill>
                  <a:schemeClr val="tx1"/>
                </a:solidFill>
              </a:defRPr>
            </a:lvl4pPr>
            <a:lvl5pPr marL="1828754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60727" y="1058863"/>
            <a:ext cx="3816350" cy="31686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/>
                </a:solidFill>
              </a:defRPr>
            </a:lvl2pPr>
            <a:lvl3pPr marL="914378" indent="0" algn="ctr">
              <a:buNone/>
              <a:defRPr>
                <a:solidFill>
                  <a:schemeClr val="tx1"/>
                </a:solidFill>
              </a:defRPr>
            </a:lvl3pPr>
            <a:lvl4pPr marL="1371566" indent="0" algn="ctr">
              <a:buNone/>
              <a:defRPr>
                <a:solidFill>
                  <a:schemeClr val="tx1"/>
                </a:solidFill>
              </a:defRPr>
            </a:lvl4pPr>
            <a:lvl5pPr marL="1828754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1DE45B-F14E-D0F6-365E-2EB86CD365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1992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BE00D9-CA89-8106-6A51-5ED10626DA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0CA2B0-85BC-4059-9C86-5B487B8CFF5F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717109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82956-8E44-4E61-9A81-17F8D19AA5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0000" y="1268999"/>
            <a:ext cx="5535000" cy="1782000"/>
          </a:xfrm>
          <a:noFill/>
        </p:spPr>
        <p:txBody>
          <a:bodyPr lIns="0" tIns="0" rIns="360000" bIns="72000" anchor="b" anchorCtr="0">
            <a:noAutofit/>
          </a:bodyPr>
          <a:lstStyle>
            <a:lvl1pPr algn="l">
              <a:defRPr sz="2565" b="1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55F94B69-B171-416D-9F2A-D0FA8E8DEC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0000" y="3105000"/>
            <a:ext cx="5535000" cy="945000"/>
          </a:xfrm>
          <a:noFill/>
        </p:spPr>
        <p:txBody>
          <a:bodyPr lIns="0" tIns="180000" rIns="0" bIns="18000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15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08607" indent="0" algn="ctr">
              <a:buNone/>
              <a:defRPr sz="1350"/>
            </a:lvl2pPr>
            <a:lvl3pPr marL="617214" indent="0" algn="ctr">
              <a:buNone/>
              <a:defRPr sz="1215"/>
            </a:lvl3pPr>
            <a:lvl4pPr marL="925821" indent="0" algn="ctr">
              <a:buNone/>
              <a:defRPr sz="1080"/>
            </a:lvl4pPr>
            <a:lvl5pPr marL="1234427" indent="0" algn="ctr">
              <a:buNone/>
              <a:defRPr sz="1080"/>
            </a:lvl5pPr>
            <a:lvl6pPr marL="1543035" indent="0" algn="ctr">
              <a:buNone/>
              <a:defRPr sz="1080"/>
            </a:lvl6pPr>
            <a:lvl7pPr marL="1851641" indent="0" algn="ctr">
              <a:buNone/>
              <a:defRPr sz="1080"/>
            </a:lvl7pPr>
            <a:lvl8pPr marL="2160248" indent="0" algn="ctr">
              <a:buNone/>
              <a:defRPr sz="1080"/>
            </a:lvl8pPr>
            <a:lvl9pPr marL="2468856" indent="0" algn="ctr">
              <a:buNone/>
              <a:defRPr sz="1080"/>
            </a:lvl9pPr>
          </a:lstStyle>
          <a:p>
            <a:r>
              <a:rPr lang="en-US"/>
              <a:t>Click to edit Master subtitle style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EC53E3D-0F77-450A-966E-0EEFEBC7FD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0002" y="4009500"/>
            <a:ext cx="5535001" cy="810000"/>
          </a:xfrm>
          <a:noFill/>
        </p:spPr>
        <p:txBody>
          <a:bodyPr lIns="0" tIns="180000" rIns="0" bIns="360000" anchor="t" anchorCtr="0"/>
          <a:lstStyle>
            <a:lvl1pPr marL="0" indent="0">
              <a:spcAft>
                <a:spcPts val="0"/>
              </a:spcAft>
              <a:buNone/>
              <a:defRPr sz="108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82248" indent="0">
              <a:buNone/>
              <a:defRPr/>
            </a:lvl2pPr>
            <a:lvl3pPr marL="364496" indent="0">
              <a:buNone/>
              <a:defRPr/>
            </a:lvl3pPr>
            <a:lvl4pPr marL="546745" indent="0">
              <a:buNone/>
              <a:defRPr/>
            </a:lvl4pPr>
            <a:lvl5pPr marL="72899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418483-A69C-B5ED-B5BF-1BE6E2B79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99" y="264113"/>
            <a:ext cx="3432510" cy="423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20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B4CD47-84E0-4DD6-89B7-FF3A76F23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310500"/>
            <a:ext cx="7290000" cy="945000"/>
          </a:xfrm>
        </p:spPr>
        <p:txBody>
          <a:bodyPr lIns="0" tIns="0" rIns="0" bIns="0" anchor="b" anchorCtr="0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7B46DE7-05A3-46DE-BA59-83F7FEF5F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4500" y="4860000"/>
            <a:ext cx="4050000" cy="135000"/>
          </a:xfrm>
        </p:spPr>
        <p:txBody>
          <a:bodyPr/>
          <a:lstStyle/>
          <a:p>
            <a:r>
              <a:rPr lang="da-DK" dirty="0"/>
              <a:t>ESPON GILL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FE7A5C2-047B-4F46-B0B2-AB4D7EF810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5B7C27-3FE4-4A2D-B806-6F5728E302F6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06ACD415-5B38-4FCB-B23C-F24B3427A5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0001" y="1484999"/>
            <a:ext cx="7289822" cy="310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8" name="Pladsholder til sidefod 2">
            <a:extLst>
              <a:ext uri="{FF2B5EF4-FFF2-40B4-BE49-F238E27FC236}">
                <a16:creationId xmlns:a16="http://schemas.microsoft.com/office/drawing/2014/main" id="{95190767-D42F-4BE3-793E-9EB5ACBF4B5E}"/>
              </a:ext>
            </a:extLst>
          </p:cNvPr>
          <p:cNvSpPr txBox="1">
            <a:spLocks/>
          </p:cNvSpPr>
          <p:nvPr userDrawn="1"/>
        </p:nvSpPr>
        <p:spPr>
          <a:xfrm>
            <a:off x="810004" y="4860000"/>
            <a:ext cx="405455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540">
                <a:solidFill>
                  <a:schemeClr val="accent1"/>
                </a:solidFill>
              </a:rPr>
              <a:t>ESPON </a:t>
            </a:r>
            <a:r>
              <a:rPr lang="da-DK" sz="540">
                <a:solidFill>
                  <a:schemeClr val="accent2"/>
                </a:solidFill>
              </a:rPr>
              <a:t>//</a:t>
            </a:r>
          </a:p>
        </p:txBody>
      </p:sp>
    </p:spTree>
    <p:extLst>
      <p:ext uri="{BB962C8B-B14F-4D97-AF65-F5344CB8AC3E}">
        <p14:creationId xmlns:p14="http://schemas.microsoft.com/office/powerpoint/2010/main" val="24469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2_Title slide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subTitle" idx="1"/>
          </p:nvPr>
        </p:nvSpPr>
        <p:spPr>
          <a:xfrm>
            <a:off x="428705" y="2841560"/>
            <a:ext cx="3182983" cy="36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215F7B-8F67-4F75-B5FF-0ED252D5C7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376" y="-49619"/>
            <a:ext cx="1941703" cy="1779181"/>
          </a:xfrm>
          <a:prstGeom prst="rect">
            <a:avLst/>
          </a:prstGeom>
        </p:spPr>
      </p:pic>
      <p:sp>
        <p:nvSpPr>
          <p:cNvPr id="11" name="Google Shape;228;p22">
            <a:extLst>
              <a:ext uri="{FF2B5EF4-FFF2-40B4-BE49-F238E27FC236}">
                <a16:creationId xmlns:a16="http://schemas.microsoft.com/office/drawing/2014/main" id="{116EB441-0AD3-4181-8F77-379DE2B5E1B0}"/>
              </a:ext>
            </a:extLst>
          </p:cNvPr>
          <p:cNvSpPr txBox="1"/>
          <p:nvPr userDrawn="1"/>
        </p:nvSpPr>
        <p:spPr>
          <a:xfrm>
            <a:off x="428705" y="1638300"/>
            <a:ext cx="3182983" cy="1269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</a:pPr>
            <a:r>
              <a:rPr lang="en-GB" sz="2400" b="1" i="0" u="none" strike="noStrike" cap="none" dirty="0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rPr>
              <a:t>How Much Nature Do We Need in our Cities?</a:t>
            </a:r>
            <a:endParaRPr lang="en-GB" sz="1400" b="0" i="0" u="none" strike="noStrike" cap="none" dirty="0">
              <a:solidFill>
                <a:srgbClr val="0063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 descr="A building with a glass surface&#10;&#10;Description automatically generated with medium confidence">
            <a:extLst>
              <a:ext uri="{FF2B5EF4-FFF2-40B4-BE49-F238E27FC236}">
                <a16:creationId xmlns:a16="http://schemas.microsoft.com/office/drawing/2014/main" id="{74FC9FEE-FD6E-E134-4028-2F43DAA86B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35315" y="0"/>
            <a:ext cx="6195353" cy="5143500"/>
          </a:xfrm>
          <a:prstGeom prst="rect">
            <a:avLst/>
          </a:prstGeom>
        </p:spPr>
      </p:pic>
      <p:pic>
        <p:nvPicPr>
          <p:cNvPr id="8" name="Google Shape;8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919914" y="2986300"/>
            <a:ext cx="4314376" cy="2157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03539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userDrawn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Google Shape;36;p5" descr="Uma imagem contendo Texto&#10;&#10;Descrição gerada automaticamente"/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54061" y="1124712"/>
            <a:ext cx="6835877" cy="2729834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37;p5"/>
          <p:cNvSpPr txBox="1">
            <a:spLocks noGrp="1"/>
          </p:cNvSpPr>
          <p:nvPr>
            <p:ph type="body" idx="1"/>
          </p:nvPr>
        </p:nvSpPr>
        <p:spPr>
          <a:xfrm>
            <a:off x="531712" y="3595325"/>
            <a:ext cx="8334538" cy="112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●"/>
              <a:defRPr sz="14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6C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rgbClr val="00636C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 dirty="0"/>
          </a:p>
        </p:txBody>
      </p:sp>
      <p:sp>
        <p:nvSpPr>
          <p:cNvPr id="7" name="Google Shape;51;p7"/>
          <p:cNvSpPr txBox="1">
            <a:spLocks noGrp="1"/>
          </p:cNvSpPr>
          <p:nvPr>
            <p:ph type="title" hasCustomPrompt="1"/>
          </p:nvPr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/>
              <a:t>5 ICLEI PATHWAYS</a:t>
            </a:r>
            <a:endParaRPr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2"/>
          </p:nvPr>
        </p:nvSpPr>
        <p:spPr>
          <a:xfrm>
            <a:off x="532800" y="4767263"/>
            <a:ext cx="1465049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296771-76B4-4B20-B64B-84032F8FAFE9}" type="datetime1">
              <a:rPr lang="en-GB" smtClean="0"/>
              <a:t>15/10/2025</a:t>
            </a:fld>
            <a:endParaRPr lang="en-GB" dirty="0"/>
          </a:p>
        </p:txBody>
      </p:sp>
      <p:sp>
        <p:nvSpPr>
          <p:cNvPr id="1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143845" y="4767263"/>
            <a:ext cx="5263563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7561089" y="4767263"/>
            <a:ext cx="138120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67708-1034-449E-BA7A-23703E633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397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1">
          <p15:clr>
            <a:srgbClr val="FA7B17"/>
          </p15:clr>
        </p15:guide>
        <p15:guide id="2" orient="horz" pos="2403">
          <p15:clr>
            <a:srgbClr val="FA7B17"/>
          </p15:clr>
        </p15:guide>
        <p15:guide id="3" pos="283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 userDrawn="1">
  <p:cSld name="Custom Layout 1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" name="Group 171">
            <a:extLst>
              <a:ext uri="{FF2B5EF4-FFF2-40B4-BE49-F238E27FC236}">
                <a16:creationId xmlns:a16="http://schemas.microsoft.com/office/drawing/2014/main" id="{50AD0ED5-B329-40FA-AEAF-C7928D791F6D}"/>
              </a:ext>
            </a:extLst>
          </p:cNvPr>
          <p:cNvGrpSpPr/>
          <p:nvPr userDrawn="1"/>
        </p:nvGrpSpPr>
        <p:grpSpPr>
          <a:xfrm>
            <a:off x="283534" y="1020725"/>
            <a:ext cx="8527313" cy="3811444"/>
            <a:chOff x="-121326" y="536889"/>
            <a:chExt cx="9304661" cy="4309820"/>
          </a:xfrm>
        </p:grpSpPr>
        <p:pic>
          <p:nvPicPr>
            <p:cNvPr id="173" name="Google Shape;50;p16"/>
            <p:cNvPicPr preferRelativeResize="0"/>
            <p:nvPr userDrawn="1"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-121326" y="536889"/>
              <a:ext cx="4152864" cy="41672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4" name="Google Shape;51;p16"/>
            <p:cNvPicPr preferRelativeResize="0"/>
            <p:nvPr userDrawn="1"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070139" y="614087"/>
              <a:ext cx="5113196" cy="397672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5" name="Google Shape;52;p16"/>
            <p:cNvSpPr/>
            <p:nvPr userDrawn="1"/>
          </p:nvSpPr>
          <p:spPr>
            <a:xfrm>
              <a:off x="95612" y="4390895"/>
              <a:ext cx="167400" cy="167400"/>
            </a:xfrm>
            <a:prstGeom prst="rect">
              <a:avLst/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53;p16"/>
            <p:cNvSpPr/>
            <p:nvPr userDrawn="1"/>
          </p:nvSpPr>
          <p:spPr>
            <a:xfrm>
              <a:off x="95612" y="4155633"/>
              <a:ext cx="167400" cy="167400"/>
            </a:xfrm>
            <a:prstGeom prst="rect">
              <a:avLst/>
            </a:prstGeom>
            <a:solidFill>
              <a:srgbClr val="B0D7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Google Shape;54;p16"/>
            <p:cNvSpPr/>
            <p:nvPr userDrawn="1"/>
          </p:nvSpPr>
          <p:spPr>
            <a:xfrm>
              <a:off x="95612" y="4649824"/>
              <a:ext cx="167400" cy="167400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78" name="Google Shape;55;p16"/>
            <p:cNvGrpSpPr/>
            <p:nvPr userDrawn="1"/>
          </p:nvGrpSpPr>
          <p:grpSpPr>
            <a:xfrm>
              <a:off x="610853" y="2057039"/>
              <a:ext cx="853862" cy="369102"/>
              <a:chOff x="1154324" y="1505191"/>
              <a:chExt cx="1111800" cy="791109"/>
            </a:xfrm>
          </p:grpSpPr>
          <p:sp>
            <p:nvSpPr>
              <p:cNvPr id="249" name="Google Shape;56;p16"/>
              <p:cNvSpPr/>
              <p:nvPr userDrawn="1"/>
            </p:nvSpPr>
            <p:spPr>
              <a:xfrm>
                <a:off x="1154324" y="1505191"/>
                <a:ext cx="1111800" cy="663030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USA Office</a:t>
                </a:r>
                <a:endParaRPr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Denver, USA</a:t>
                </a:r>
                <a:endParaRPr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0" name="Google Shape;57;p16"/>
              <p:cNvSpPr/>
              <p:nvPr userDrawn="1"/>
            </p:nvSpPr>
            <p:spPr>
              <a:xfrm rot="10800000">
                <a:off x="2042550" y="1994800"/>
                <a:ext cx="223500" cy="301500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79" name="Google Shape;59;p16"/>
            <p:cNvSpPr/>
            <p:nvPr userDrawn="1"/>
          </p:nvSpPr>
          <p:spPr>
            <a:xfrm>
              <a:off x="2055014" y="1702390"/>
              <a:ext cx="989520" cy="273900"/>
            </a:xfrm>
            <a:prstGeom prst="rect">
              <a:avLst/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GB"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anada Office</a:t>
              </a:r>
              <a:endParaRPr sz="7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GB"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Toronto, Canada</a:t>
              </a:r>
              <a:endParaRPr sz="7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Google Shape;60;p16"/>
            <p:cNvSpPr/>
            <p:nvPr userDrawn="1"/>
          </p:nvSpPr>
          <p:spPr>
            <a:xfrm rot="10800000" flipH="1">
              <a:off x="2055014" y="1965424"/>
              <a:ext cx="123185" cy="225168"/>
            </a:xfrm>
            <a:prstGeom prst="triangle">
              <a:avLst>
                <a:gd name="adj" fmla="val 0"/>
              </a:avLst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81" name="Google Shape;61;p16"/>
            <p:cNvGrpSpPr/>
            <p:nvPr userDrawn="1"/>
          </p:nvGrpSpPr>
          <p:grpSpPr>
            <a:xfrm>
              <a:off x="340638" y="2811090"/>
              <a:ext cx="1165489" cy="853404"/>
              <a:chOff x="375233" y="1127120"/>
              <a:chExt cx="1907365" cy="996019"/>
            </a:xfrm>
          </p:grpSpPr>
          <p:sp>
            <p:nvSpPr>
              <p:cNvPr id="247" name="Google Shape;62;p16"/>
              <p:cNvSpPr/>
              <p:nvPr userDrawn="1"/>
            </p:nvSpPr>
            <p:spPr>
              <a:xfrm>
                <a:off x="375233" y="1345930"/>
                <a:ext cx="1891427" cy="777209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Mexico, Central America &amp; Caribbean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Mexico City, Mexico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8" name="Google Shape;63;p16"/>
              <p:cNvSpPr/>
              <p:nvPr userDrawn="1"/>
            </p:nvSpPr>
            <p:spPr>
              <a:xfrm rot="165980" flipH="1">
                <a:off x="1985918" y="1127120"/>
                <a:ext cx="296680" cy="282305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2" name="Google Shape;64;p16"/>
            <p:cNvGrpSpPr/>
            <p:nvPr userDrawn="1"/>
          </p:nvGrpSpPr>
          <p:grpSpPr>
            <a:xfrm flipH="1" flipV="1">
              <a:off x="2813203" y="3759758"/>
              <a:ext cx="977747" cy="580694"/>
              <a:chOff x="1249491" y="1548778"/>
              <a:chExt cx="1306738" cy="774875"/>
            </a:xfrm>
          </p:grpSpPr>
          <p:sp>
            <p:nvSpPr>
              <p:cNvPr id="245" name="Google Shape;66;p16"/>
              <p:cNvSpPr/>
              <p:nvPr userDrawn="1"/>
            </p:nvSpPr>
            <p:spPr>
              <a:xfrm rot="10800000">
                <a:off x="2155264" y="2022153"/>
                <a:ext cx="218700" cy="301500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6" name="Google Shape;65;p16"/>
              <p:cNvSpPr/>
              <p:nvPr userDrawn="1"/>
            </p:nvSpPr>
            <p:spPr>
              <a:xfrm rot="10800000">
                <a:off x="1249491" y="1548778"/>
                <a:ext cx="1306738" cy="525412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South America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São Paulo, Brazil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3" name="Google Shape;67;p16"/>
            <p:cNvGrpSpPr/>
            <p:nvPr userDrawn="1"/>
          </p:nvGrpSpPr>
          <p:grpSpPr>
            <a:xfrm>
              <a:off x="3912155" y="1388921"/>
              <a:ext cx="989330" cy="724863"/>
              <a:chOff x="1194250" y="1473860"/>
              <a:chExt cx="1179600" cy="967258"/>
            </a:xfrm>
          </p:grpSpPr>
          <p:sp>
            <p:nvSpPr>
              <p:cNvPr id="243" name="Google Shape;68;p16"/>
              <p:cNvSpPr/>
              <p:nvPr userDrawn="1"/>
            </p:nvSpPr>
            <p:spPr>
              <a:xfrm>
                <a:off x="1194250" y="1473860"/>
                <a:ext cx="1179600" cy="566842"/>
              </a:xfrm>
              <a:prstGeom prst="rect">
                <a:avLst/>
              </a:prstGeom>
              <a:solidFill>
                <a:srgbClr val="FEE14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World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Bonn, Germany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4" name="Google Shape;69;p16"/>
              <p:cNvSpPr/>
              <p:nvPr userDrawn="1"/>
            </p:nvSpPr>
            <p:spPr>
              <a:xfrm rot="10800000">
                <a:off x="2145695" y="1994801"/>
                <a:ext cx="226127" cy="446317"/>
              </a:xfrm>
              <a:prstGeom prst="triangle">
                <a:avLst>
                  <a:gd name="adj" fmla="val 0"/>
                </a:avLst>
              </a:prstGeom>
              <a:solidFill>
                <a:srgbClr val="FEE14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4" name="Google Shape;70;p16"/>
            <p:cNvGrpSpPr/>
            <p:nvPr userDrawn="1"/>
          </p:nvGrpSpPr>
          <p:grpSpPr>
            <a:xfrm>
              <a:off x="5017714" y="1286520"/>
              <a:ext cx="949429" cy="804238"/>
              <a:chOff x="816071" y="1348257"/>
              <a:chExt cx="1250400" cy="1339321"/>
            </a:xfrm>
          </p:grpSpPr>
          <p:sp>
            <p:nvSpPr>
              <p:cNvPr id="241" name="Google Shape;71;p16"/>
              <p:cNvSpPr/>
              <p:nvPr userDrawn="1"/>
            </p:nvSpPr>
            <p:spPr>
              <a:xfrm>
                <a:off x="816071" y="1348257"/>
                <a:ext cx="1250400" cy="692774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Berlin Office</a:t>
                </a:r>
                <a:endParaRPr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Berlin, Germany</a:t>
                </a:r>
                <a:endParaRPr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2" name="Google Shape;72;p16"/>
              <p:cNvSpPr/>
              <p:nvPr userDrawn="1"/>
            </p:nvSpPr>
            <p:spPr>
              <a:xfrm rot="10800000" flipH="1">
                <a:off x="816072" y="1994804"/>
                <a:ext cx="207697" cy="692774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5" name="Google Shape;73;p16"/>
            <p:cNvGrpSpPr/>
            <p:nvPr userDrawn="1"/>
          </p:nvGrpSpPr>
          <p:grpSpPr>
            <a:xfrm>
              <a:off x="3822700" y="2108404"/>
              <a:ext cx="1025244" cy="528865"/>
              <a:chOff x="3431000" y="2410975"/>
              <a:chExt cx="1252588" cy="722631"/>
            </a:xfrm>
          </p:grpSpPr>
          <p:sp>
            <p:nvSpPr>
              <p:cNvPr id="239" name="Google Shape;74;p16"/>
              <p:cNvSpPr/>
              <p:nvPr userDrawn="1"/>
            </p:nvSpPr>
            <p:spPr>
              <a:xfrm>
                <a:off x="3431000" y="2636898"/>
                <a:ext cx="1252500" cy="496708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Brussels Office</a:t>
                </a:r>
                <a:endParaRPr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Brussels, Belgium</a:t>
                </a:r>
                <a:endParaRPr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0" name="Google Shape;75;p16"/>
              <p:cNvSpPr/>
              <p:nvPr userDrawn="1"/>
            </p:nvSpPr>
            <p:spPr>
              <a:xfrm flipH="1">
                <a:off x="4516188" y="2410975"/>
                <a:ext cx="167400" cy="268800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6" name="Google Shape;76;p16"/>
            <p:cNvGrpSpPr/>
            <p:nvPr userDrawn="1"/>
          </p:nvGrpSpPr>
          <p:grpSpPr>
            <a:xfrm>
              <a:off x="4959741" y="2125711"/>
              <a:ext cx="1065366" cy="587530"/>
              <a:chOff x="3431008" y="2410975"/>
              <a:chExt cx="1065474" cy="820807"/>
            </a:xfrm>
          </p:grpSpPr>
          <p:sp>
            <p:nvSpPr>
              <p:cNvPr id="237" name="Google Shape;78;p16"/>
              <p:cNvSpPr/>
              <p:nvPr userDrawn="1"/>
            </p:nvSpPr>
            <p:spPr>
              <a:xfrm>
                <a:off x="3431008" y="2410975"/>
                <a:ext cx="167400" cy="268800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8" name="Google Shape;77;p16"/>
              <p:cNvSpPr/>
              <p:nvPr userDrawn="1"/>
            </p:nvSpPr>
            <p:spPr>
              <a:xfrm>
                <a:off x="3431012" y="2577265"/>
                <a:ext cx="1065470" cy="654517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European Secretariat</a:t>
                </a: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Freiburg, Germany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7" name="Google Shape;79;p16"/>
            <p:cNvGrpSpPr/>
            <p:nvPr userDrawn="1"/>
          </p:nvGrpSpPr>
          <p:grpSpPr>
            <a:xfrm>
              <a:off x="8072137" y="2284285"/>
              <a:ext cx="994966" cy="365096"/>
              <a:chOff x="-312128" y="495668"/>
              <a:chExt cx="1528373" cy="783576"/>
            </a:xfrm>
          </p:grpSpPr>
          <p:sp>
            <p:nvSpPr>
              <p:cNvPr id="235" name="Google Shape;80;p16"/>
              <p:cNvSpPr/>
              <p:nvPr userDrawn="1"/>
            </p:nvSpPr>
            <p:spPr>
              <a:xfrm>
                <a:off x="-68418" y="495668"/>
                <a:ext cx="1284663" cy="783576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Japan Office</a:t>
                </a:r>
                <a:endParaRPr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Tokyo, Japan</a:t>
                </a:r>
                <a:endParaRPr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6" name="Google Shape;81;p16"/>
              <p:cNvSpPr/>
              <p:nvPr userDrawn="1"/>
            </p:nvSpPr>
            <p:spPr>
              <a:xfrm rot="16200000" flipH="1">
                <a:off x="-326616" y="518848"/>
                <a:ext cx="290509" cy="261533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88" name="Google Shape;83;p16"/>
            <p:cNvSpPr/>
            <p:nvPr userDrawn="1"/>
          </p:nvSpPr>
          <p:spPr>
            <a:xfrm>
              <a:off x="6087178" y="1892330"/>
              <a:ext cx="1285399" cy="387276"/>
            </a:xfrm>
            <a:prstGeom prst="rect">
              <a:avLst/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GB"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Korea Office</a:t>
              </a:r>
              <a:endParaRPr sz="7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GB"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uwon, Republic of  Korea</a:t>
              </a:r>
              <a:endParaRPr sz="7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89" name="Google Shape;85;p16"/>
            <p:cNvGrpSpPr/>
            <p:nvPr userDrawn="1"/>
          </p:nvGrpSpPr>
          <p:grpSpPr>
            <a:xfrm>
              <a:off x="6387219" y="1520221"/>
              <a:ext cx="1372112" cy="817395"/>
              <a:chOff x="1451218" y="924460"/>
              <a:chExt cx="1775968" cy="1219421"/>
            </a:xfrm>
          </p:grpSpPr>
          <p:sp>
            <p:nvSpPr>
              <p:cNvPr id="233" name="Google Shape;86;p16"/>
              <p:cNvSpPr/>
              <p:nvPr userDrawn="1"/>
            </p:nvSpPr>
            <p:spPr>
              <a:xfrm>
                <a:off x="1451218" y="924460"/>
                <a:ext cx="1775968" cy="536553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East Asia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Seoul, Republic of Korea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4" name="Google Shape;87;p16"/>
              <p:cNvSpPr/>
              <p:nvPr userDrawn="1"/>
            </p:nvSpPr>
            <p:spPr>
              <a:xfrm rot="10800000">
                <a:off x="2776558" y="1413140"/>
                <a:ext cx="448795" cy="730741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0" name="Google Shape;88;p16"/>
            <p:cNvGrpSpPr/>
            <p:nvPr userDrawn="1"/>
          </p:nvGrpSpPr>
          <p:grpSpPr>
            <a:xfrm>
              <a:off x="5438009" y="2752838"/>
              <a:ext cx="1208646" cy="451978"/>
              <a:chOff x="1029228" y="1190931"/>
              <a:chExt cx="1564387" cy="603117"/>
            </a:xfrm>
          </p:grpSpPr>
          <p:sp>
            <p:nvSpPr>
              <p:cNvPr id="231" name="Google Shape;89;p16"/>
              <p:cNvSpPr/>
              <p:nvPr userDrawn="1"/>
            </p:nvSpPr>
            <p:spPr>
              <a:xfrm>
                <a:off x="1029228" y="1198156"/>
                <a:ext cx="1228802" cy="595892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South Asia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New Delhi, India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2" name="Google Shape;90;p16"/>
              <p:cNvSpPr/>
              <p:nvPr userDrawn="1"/>
            </p:nvSpPr>
            <p:spPr>
              <a:xfrm rot="10635768" flipH="1">
                <a:off x="2219969" y="1190931"/>
                <a:ext cx="373646" cy="253140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1" name="Google Shape;91;p16"/>
            <p:cNvGrpSpPr/>
            <p:nvPr userDrawn="1"/>
          </p:nvGrpSpPr>
          <p:grpSpPr>
            <a:xfrm>
              <a:off x="3949700" y="3889625"/>
              <a:ext cx="1230612" cy="528713"/>
              <a:chOff x="3062365" y="2410975"/>
              <a:chExt cx="1621341" cy="829390"/>
            </a:xfrm>
          </p:grpSpPr>
          <p:sp>
            <p:nvSpPr>
              <p:cNvPr id="229" name="Google Shape;92;p16"/>
              <p:cNvSpPr/>
              <p:nvPr userDrawn="1"/>
            </p:nvSpPr>
            <p:spPr>
              <a:xfrm>
                <a:off x="3062365" y="2636900"/>
                <a:ext cx="1621341" cy="603465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Africa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Cape Town, South Africa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0" name="Google Shape;93;p16"/>
              <p:cNvSpPr/>
              <p:nvPr userDrawn="1"/>
            </p:nvSpPr>
            <p:spPr>
              <a:xfrm flipH="1">
                <a:off x="4516188" y="2410975"/>
                <a:ext cx="167400" cy="268800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2" name="Google Shape;94;p16"/>
            <p:cNvGrpSpPr/>
            <p:nvPr userDrawn="1"/>
          </p:nvGrpSpPr>
          <p:grpSpPr>
            <a:xfrm>
              <a:off x="7150099" y="4101428"/>
              <a:ext cx="1038495" cy="745281"/>
              <a:chOff x="2947073" y="2272106"/>
              <a:chExt cx="1268781" cy="745281"/>
            </a:xfrm>
          </p:grpSpPr>
          <p:sp>
            <p:nvSpPr>
              <p:cNvPr id="227" name="Google Shape;96;p16"/>
              <p:cNvSpPr/>
              <p:nvPr userDrawn="1"/>
            </p:nvSpPr>
            <p:spPr>
              <a:xfrm flipH="1">
                <a:off x="3963043" y="2272106"/>
                <a:ext cx="249601" cy="333300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8" name="Google Shape;95;p16"/>
              <p:cNvSpPr/>
              <p:nvPr userDrawn="1"/>
            </p:nvSpPr>
            <p:spPr>
              <a:xfrm>
                <a:off x="2947073" y="2511133"/>
                <a:ext cx="1268781" cy="506254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Oceania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Melbourne, Australia</a:t>
                </a:r>
                <a:endParaRPr sz="7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3" name="Google Shape;97;p16"/>
            <p:cNvGrpSpPr/>
            <p:nvPr userDrawn="1"/>
          </p:nvGrpSpPr>
          <p:grpSpPr>
            <a:xfrm>
              <a:off x="7699493" y="2637424"/>
              <a:ext cx="1234999" cy="629181"/>
              <a:chOff x="-428692" y="825576"/>
              <a:chExt cx="2040855" cy="1111428"/>
            </a:xfrm>
          </p:grpSpPr>
          <p:sp>
            <p:nvSpPr>
              <p:cNvPr id="225" name="Google Shape;99;p16"/>
              <p:cNvSpPr/>
              <p:nvPr userDrawn="1"/>
            </p:nvSpPr>
            <p:spPr>
              <a:xfrm rot="18118800">
                <a:off x="-290558" y="687442"/>
                <a:ext cx="299494" cy="575761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36000" tIns="91425" rIns="36000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6" name="Google Shape;98;p16"/>
              <p:cNvSpPr/>
              <p:nvPr userDrawn="1"/>
            </p:nvSpPr>
            <p:spPr>
              <a:xfrm>
                <a:off x="-332147" y="971144"/>
                <a:ext cx="1944310" cy="965860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36000" tIns="91425" rIns="36000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Kaohsiung Capacity </a:t>
                </a:r>
                <a:r>
                  <a:rPr lang="en-GB" sz="700" b="1" i="0" u="none" strike="noStrike" cap="none" dirty="0" err="1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Center</a:t>
                </a:r>
                <a:endParaRPr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Kaohsiung,</a:t>
                </a:r>
                <a:r>
                  <a:rPr lang="en-GB" sz="700" b="0" i="0" u="none" strike="noStrike" cap="none" baseline="0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 Chinese Taipei</a:t>
                </a:r>
                <a:endParaRPr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4" name="Google Shape;100;p16"/>
            <p:cNvGrpSpPr/>
            <p:nvPr userDrawn="1"/>
          </p:nvGrpSpPr>
          <p:grpSpPr>
            <a:xfrm>
              <a:off x="7726085" y="2899188"/>
              <a:ext cx="1038497" cy="860572"/>
              <a:chOff x="-595651" y="759341"/>
              <a:chExt cx="1335910" cy="1691713"/>
            </a:xfrm>
          </p:grpSpPr>
          <p:sp>
            <p:nvSpPr>
              <p:cNvPr id="223" name="Google Shape;102;p16"/>
              <p:cNvSpPr/>
              <p:nvPr userDrawn="1"/>
            </p:nvSpPr>
            <p:spPr>
              <a:xfrm>
                <a:off x="-595651" y="759341"/>
                <a:ext cx="136581" cy="977007"/>
              </a:xfrm>
              <a:prstGeom prst="triangle">
                <a:avLst>
                  <a:gd name="adj" fmla="val 0"/>
                </a:avLst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4" name="Google Shape;101;p16"/>
              <p:cNvSpPr/>
              <p:nvPr userDrawn="1"/>
            </p:nvSpPr>
            <p:spPr>
              <a:xfrm>
                <a:off x="-595650" y="1620100"/>
                <a:ext cx="1335909" cy="830954"/>
              </a:xfrm>
              <a:prstGeom prst="rect">
                <a:avLst/>
              </a:prstGeom>
              <a:solidFill>
                <a:srgbClr val="AFD8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South East Asia Secretariat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tx2">
                        <a:lumMod val="10000"/>
                      </a:schemeClr>
                    </a:solidFill>
                    <a:latin typeface="Arial"/>
                    <a:ea typeface="Arial"/>
                    <a:cs typeface="Arial"/>
                    <a:sym typeface="Arial"/>
                  </a:rPr>
                  <a:t>Manila, Philippines</a:t>
                </a:r>
                <a:endParaRPr sz="700" b="1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5" name="Google Shape;103;p16"/>
            <p:cNvGrpSpPr/>
            <p:nvPr userDrawn="1"/>
          </p:nvGrpSpPr>
          <p:grpSpPr>
            <a:xfrm>
              <a:off x="6602291" y="3327719"/>
              <a:ext cx="921456" cy="763873"/>
              <a:chOff x="1684200" y="1116256"/>
              <a:chExt cx="747055" cy="1516103"/>
            </a:xfrm>
          </p:grpSpPr>
          <p:sp>
            <p:nvSpPr>
              <p:cNvPr id="221" name="Google Shape;104;p16"/>
              <p:cNvSpPr/>
              <p:nvPr userDrawn="1"/>
            </p:nvSpPr>
            <p:spPr>
              <a:xfrm>
                <a:off x="1684200" y="1624144"/>
                <a:ext cx="747055" cy="1008215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Indonesia Project Office</a:t>
                </a:r>
                <a:endParaRPr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Jakarta, Indonesia</a:t>
                </a:r>
                <a:endParaRPr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2" name="Google Shape;105;p16"/>
              <p:cNvSpPr/>
              <p:nvPr userDrawn="1"/>
            </p:nvSpPr>
            <p:spPr>
              <a:xfrm flipH="1">
                <a:off x="2202058" y="1116256"/>
                <a:ext cx="131044" cy="533100"/>
              </a:xfrm>
              <a:prstGeom prst="triangle">
                <a:avLst>
                  <a:gd name="adj" fmla="val 6401"/>
                </a:avLst>
              </a:prstGeom>
              <a:solidFill>
                <a:srgbClr val="59595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6" name="Google Shape;106;p16"/>
            <p:cNvSpPr txBox="1"/>
            <p:nvPr userDrawn="1"/>
          </p:nvSpPr>
          <p:spPr>
            <a:xfrm>
              <a:off x="213000" y="4066778"/>
              <a:ext cx="1184778" cy="6765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r>
                <a:rPr lang="en-GB" sz="8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Verdana"/>
                  <a:ea typeface="Verdana"/>
                  <a:cs typeface="Verdana"/>
                  <a:sym typeface="Verdana"/>
                </a:rPr>
                <a:t>Secretariat Office</a:t>
              </a:r>
              <a:endParaRPr lang="en-GB" sz="800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r>
                <a:rPr lang="en-GB" sz="8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Verdana"/>
                  <a:ea typeface="Verdana"/>
                  <a:cs typeface="Verdana"/>
                  <a:sym typeface="Verdana"/>
                </a:rPr>
                <a:t>Country Office</a:t>
              </a:r>
              <a:endParaRPr lang="en-GB" sz="800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GB" sz="800" b="0" i="0" u="none" strike="noStrike" cap="none" dirty="0">
                  <a:solidFill>
                    <a:schemeClr val="tx2">
                      <a:lumMod val="10000"/>
                    </a:schemeClr>
                  </a:solidFill>
                  <a:latin typeface="Verdana"/>
                  <a:ea typeface="Verdana"/>
                  <a:cs typeface="Verdana"/>
                  <a:sym typeface="Verdana"/>
                </a:rPr>
                <a:t>Project Office</a:t>
              </a:r>
              <a:endParaRPr sz="800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endParaRPr sz="800" b="0" i="0" u="none" strike="noStrike" cap="none" dirty="0">
                <a:solidFill>
                  <a:schemeClr val="tx2">
                    <a:lumMod val="10000"/>
                  </a:schemeClr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  <p:grpSp>
          <p:nvGrpSpPr>
            <p:cNvPr id="217" name="Google Shape;58;p16">
              <a:extLst>
                <a:ext uri="{FF2B5EF4-FFF2-40B4-BE49-F238E27FC236}">
                  <a16:creationId xmlns:a16="http://schemas.microsoft.com/office/drawing/2014/main" id="{4646A576-F6F8-40D5-9FA8-EA140C122BE4}"/>
                </a:ext>
              </a:extLst>
            </p:cNvPr>
            <p:cNvGrpSpPr/>
            <p:nvPr userDrawn="1"/>
          </p:nvGrpSpPr>
          <p:grpSpPr>
            <a:xfrm rot="10800000">
              <a:off x="1483785" y="4018844"/>
              <a:ext cx="1120425" cy="513889"/>
              <a:chOff x="816072" y="1517779"/>
              <a:chExt cx="1518029" cy="778526"/>
            </a:xfrm>
          </p:grpSpPr>
          <p:sp>
            <p:nvSpPr>
              <p:cNvPr id="219" name="Google Shape;59;p16">
                <a:extLst>
                  <a:ext uri="{FF2B5EF4-FFF2-40B4-BE49-F238E27FC236}">
                    <a16:creationId xmlns:a16="http://schemas.microsoft.com/office/drawing/2014/main" id="{B4B9CC45-8215-49D1-B677-6A7F6E82627E}"/>
                  </a:ext>
                </a:extLst>
              </p:cNvPr>
              <p:cNvSpPr/>
              <p:nvPr userDrawn="1"/>
            </p:nvSpPr>
            <p:spPr>
              <a:xfrm>
                <a:off x="816072" y="1517779"/>
                <a:ext cx="1518029" cy="523286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8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 </a:t>
                </a:r>
                <a:endParaRPr sz="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0" name="Google Shape;60;p16">
                <a:extLst>
                  <a:ext uri="{FF2B5EF4-FFF2-40B4-BE49-F238E27FC236}">
                    <a16:creationId xmlns:a16="http://schemas.microsoft.com/office/drawing/2014/main" id="{B901AC5F-FBB9-4D29-9400-9829E8753685}"/>
                  </a:ext>
                </a:extLst>
              </p:cNvPr>
              <p:cNvSpPr/>
              <p:nvPr userDrawn="1"/>
            </p:nvSpPr>
            <p:spPr>
              <a:xfrm rot="10800000" flipH="1">
                <a:off x="816167" y="1994805"/>
                <a:ext cx="207600" cy="301500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13" name="Google Shape;58;p16">
              <a:extLst>
                <a:ext uri="{FF2B5EF4-FFF2-40B4-BE49-F238E27FC236}">
                  <a16:creationId xmlns:a16="http://schemas.microsoft.com/office/drawing/2014/main" id="{A5C7CC59-25A2-4B79-9407-5CCEE78912BC}"/>
                </a:ext>
              </a:extLst>
            </p:cNvPr>
            <p:cNvGrpSpPr/>
            <p:nvPr userDrawn="1"/>
          </p:nvGrpSpPr>
          <p:grpSpPr>
            <a:xfrm rot="10800000">
              <a:off x="2184374" y="3223291"/>
              <a:ext cx="1120425" cy="536465"/>
              <a:chOff x="833924" y="1502792"/>
              <a:chExt cx="1518029" cy="774405"/>
            </a:xfrm>
          </p:grpSpPr>
          <p:sp>
            <p:nvSpPr>
              <p:cNvPr id="215" name="Google Shape;59;p16">
                <a:extLst>
                  <a:ext uri="{FF2B5EF4-FFF2-40B4-BE49-F238E27FC236}">
                    <a16:creationId xmlns:a16="http://schemas.microsoft.com/office/drawing/2014/main" id="{15D958BA-4A11-4779-827E-D6D85444B016}"/>
                  </a:ext>
                </a:extLst>
              </p:cNvPr>
              <p:cNvSpPr/>
              <p:nvPr userDrawn="1"/>
            </p:nvSpPr>
            <p:spPr>
              <a:xfrm>
                <a:off x="833924" y="1502792"/>
                <a:ext cx="1518029" cy="495171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8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 </a:t>
                </a:r>
                <a:endParaRPr sz="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6" name="Google Shape;60;p16">
                <a:extLst>
                  <a:ext uri="{FF2B5EF4-FFF2-40B4-BE49-F238E27FC236}">
                    <a16:creationId xmlns:a16="http://schemas.microsoft.com/office/drawing/2014/main" id="{F790F265-029B-4D3B-A1F4-71A6FB0FAB3A}"/>
                  </a:ext>
                </a:extLst>
              </p:cNvPr>
              <p:cNvSpPr/>
              <p:nvPr userDrawn="1"/>
            </p:nvSpPr>
            <p:spPr>
              <a:xfrm rot="10800000">
                <a:off x="2143504" y="1975697"/>
                <a:ext cx="207600" cy="301500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99" name="Google Shape;97;p16">
              <a:extLst>
                <a:ext uri="{FF2B5EF4-FFF2-40B4-BE49-F238E27FC236}">
                  <a16:creationId xmlns:a16="http://schemas.microsoft.com/office/drawing/2014/main" id="{E92F0330-18E0-4DFA-85B6-782189EA5234}"/>
                </a:ext>
              </a:extLst>
            </p:cNvPr>
            <p:cNvGrpSpPr/>
            <p:nvPr userDrawn="1"/>
          </p:nvGrpSpPr>
          <p:grpSpPr>
            <a:xfrm>
              <a:off x="7489484" y="1878772"/>
              <a:ext cx="1168492" cy="394977"/>
              <a:chOff x="-473581" y="1462334"/>
              <a:chExt cx="1794919" cy="697714"/>
            </a:xfrm>
          </p:grpSpPr>
          <p:sp>
            <p:nvSpPr>
              <p:cNvPr id="211" name="Google Shape;98;p16">
                <a:extLst>
                  <a:ext uri="{FF2B5EF4-FFF2-40B4-BE49-F238E27FC236}">
                    <a16:creationId xmlns:a16="http://schemas.microsoft.com/office/drawing/2014/main" id="{525E54A7-9127-4152-A543-D2C8D24161FA}"/>
                  </a:ext>
                </a:extLst>
              </p:cNvPr>
              <p:cNvSpPr/>
              <p:nvPr userDrawn="1"/>
            </p:nvSpPr>
            <p:spPr>
              <a:xfrm>
                <a:off x="52955" y="1462334"/>
                <a:ext cx="1268383" cy="697710"/>
              </a:xfrm>
              <a:prstGeom prst="rect">
                <a:avLst/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108000" tIns="91425" rIns="72000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GB" sz="700" b="1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Beijing Office</a:t>
                </a:r>
                <a:endParaRPr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7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Beijing, China</a:t>
                </a:r>
                <a:endParaRPr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2" name="Google Shape;99;p16">
                <a:extLst>
                  <a:ext uri="{FF2B5EF4-FFF2-40B4-BE49-F238E27FC236}">
                    <a16:creationId xmlns:a16="http://schemas.microsoft.com/office/drawing/2014/main" id="{58405B1F-70C9-435E-88DE-27A379FFBEA5}"/>
                  </a:ext>
                </a:extLst>
              </p:cNvPr>
              <p:cNvSpPr/>
              <p:nvPr userDrawn="1"/>
            </p:nvSpPr>
            <p:spPr>
              <a:xfrm rot="16200000">
                <a:off x="-354990" y="1690155"/>
                <a:ext cx="351302" cy="588484"/>
              </a:xfrm>
              <a:prstGeom prst="triangle">
                <a:avLst>
                  <a:gd name="adj" fmla="val 0"/>
                </a:avLst>
              </a:prstGeom>
              <a:solidFill>
                <a:srgbClr val="00636C"/>
              </a:solidFill>
              <a:ln>
                <a:noFill/>
              </a:ln>
            </p:spPr>
            <p:txBody>
              <a:bodyPr spcFirstLastPara="1" wrap="square" lIns="36000" tIns="91425" rIns="36000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00" name="Google Shape;58;p16">
              <a:extLst>
                <a:ext uri="{FF2B5EF4-FFF2-40B4-BE49-F238E27FC236}">
                  <a16:creationId xmlns:a16="http://schemas.microsoft.com/office/drawing/2014/main" id="{4C3C4C62-F3C2-4E5E-AADD-6888EB6D61B3}"/>
                </a:ext>
              </a:extLst>
            </p:cNvPr>
            <p:cNvGrpSpPr/>
            <p:nvPr userDrawn="1"/>
          </p:nvGrpSpPr>
          <p:grpSpPr>
            <a:xfrm rot="10800000" flipH="1">
              <a:off x="5645713" y="2886364"/>
              <a:ext cx="1002466" cy="873393"/>
              <a:chOff x="805227" y="1346321"/>
              <a:chExt cx="1518029" cy="1250947"/>
            </a:xfrm>
            <a:solidFill>
              <a:schemeClr val="bg2"/>
            </a:solidFill>
          </p:grpSpPr>
          <p:sp>
            <p:nvSpPr>
              <p:cNvPr id="209" name="Google Shape;59;p16">
                <a:extLst>
                  <a:ext uri="{FF2B5EF4-FFF2-40B4-BE49-F238E27FC236}">
                    <a16:creationId xmlns:a16="http://schemas.microsoft.com/office/drawing/2014/main" id="{467D267B-CC84-468E-96EC-E6A07F36BEAE}"/>
                  </a:ext>
                </a:extLst>
              </p:cNvPr>
              <p:cNvSpPr/>
              <p:nvPr userDrawn="1"/>
            </p:nvSpPr>
            <p:spPr>
              <a:xfrm>
                <a:off x="805227" y="1346321"/>
                <a:ext cx="1518029" cy="750784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GB" sz="8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 </a:t>
                </a:r>
                <a:endParaRPr sz="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0" name="Google Shape;60;p16">
                <a:extLst>
                  <a:ext uri="{FF2B5EF4-FFF2-40B4-BE49-F238E27FC236}">
                    <a16:creationId xmlns:a16="http://schemas.microsoft.com/office/drawing/2014/main" id="{04F30C0D-C49B-42BF-9D03-CFD0048340F8}"/>
                  </a:ext>
                </a:extLst>
              </p:cNvPr>
              <p:cNvSpPr/>
              <p:nvPr userDrawn="1"/>
            </p:nvSpPr>
            <p:spPr>
              <a:xfrm rot="10800000">
                <a:off x="2102040" y="2089411"/>
                <a:ext cx="221216" cy="507857"/>
              </a:xfrm>
              <a:prstGeom prst="triangle">
                <a:avLst>
                  <a:gd name="adj" fmla="val 0"/>
                </a:avLst>
              </a:prstGeom>
              <a:solidFill>
                <a:srgbClr val="59595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01" name="Google Shape;59;p16">
              <a:extLst>
                <a:ext uri="{FF2B5EF4-FFF2-40B4-BE49-F238E27FC236}">
                  <a16:creationId xmlns:a16="http://schemas.microsoft.com/office/drawing/2014/main" id="{E3DB1191-CF3E-4215-8656-40C5B8E08E76}"/>
                </a:ext>
              </a:extLst>
            </p:cNvPr>
            <p:cNvSpPr/>
            <p:nvPr userDrawn="1"/>
          </p:nvSpPr>
          <p:spPr>
            <a:xfrm>
              <a:off x="2229845" y="2383507"/>
              <a:ext cx="1101754" cy="307778"/>
            </a:xfrm>
            <a:prstGeom prst="rect">
              <a:avLst/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GB"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Quebec Office</a:t>
              </a:r>
              <a:endParaRPr sz="7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GB"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Montreal, Canada</a:t>
              </a:r>
              <a:endParaRPr sz="7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2" name="Google Shape;59;p16">
              <a:extLst>
                <a:ext uri="{FF2B5EF4-FFF2-40B4-BE49-F238E27FC236}">
                  <a16:creationId xmlns:a16="http://schemas.microsoft.com/office/drawing/2014/main" id="{FA29F4DD-C12D-4A6C-AB11-CAACD5F81383}"/>
                </a:ext>
              </a:extLst>
            </p:cNvPr>
            <p:cNvSpPr/>
            <p:nvPr userDrawn="1"/>
          </p:nvSpPr>
          <p:spPr>
            <a:xfrm>
              <a:off x="262790" y="1255122"/>
              <a:ext cx="1348094" cy="309346"/>
            </a:xfrm>
            <a:prstGeom prst="rect">
              <a:avLst/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GB" sz="7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British Columbia Office</a:t>
              </a:r>
              <a:endParaRPr sz="7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GB" sz="7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Victoria, Canada</a:t>
              </a:r>
              <a:endParaRPr sz="7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Google Shape;60;p16">
              <a:extLst>
                <a:ext uri="{FF2B5EF4-FFF2-40B4-BE49-F238E27FC236}">
                  <a16:creationId xmlns:a16="http://schemas.microsoft.com/office/drawing/2014/main" id="{0961F94C-27D7-48D7-A78E-06F8A0EDD6E5}"/>
                </a:ext>
              </a:extLst>
            </p:cNvPr>
            <p:cNvSpPr/>
            <p:nvPr userDrawn="1"/>
          </p:nvSpPr>
          <p:spPr>
            <a:xfrm rot="16200000" flipV="1">
              <a:off x="931180" y="1592063"/>
              <a:ext cx="309345" cy="202108"/>
            </a:xfrm>
            <a:custGeom>
              <a:avLst/>
              <a:gdLst>
                <a:gd name="connsiteX0" fmla="*/ 0 w 151759"/>
                <a:gd name="connsiteY0" fmla="*/ 225944 h 225944"/>
                <a:gd name="connsiteX1" fmla="*/ 0 w 151759"/>
                <a:gd name="connsiteY1" fmla="*/ 0 h 225944"/>
                <a:gd name="connsiteX2" fmla="*/ 151759 w 151759"/>
                <a:gd name="connsiteY2" fmla="*/ 225944 h 225944"/>
                <a:gd name="connsiteX3" fmla="*/ 0 w 151759"/>
                <a:gd name="connsiteY3" fmla="*/ 225944 h 225944"/>
                <a:gd name="connsiteX0" fmla="*/ 188393 w 340152"/>
                <a:gd name="connsiteY0" fmla="*/ 225944 h 640019"/>
                <a:gd name="connsiteX1" fmla="*/ 188393 w 340152"/>
                <a:gd name="connsiteY1" fmla="*/ 0 h 640019"/>
                <a:gd name="connsiteX2" fmla="*/ 33 w 340152"/>
                <a:gd name="connsiteY2" fmla="*/ 640019 h 640019"/>
                <a:gd name="connsiteX3" fmla="*/ 340152 w 340152"/>
                <a:gd name="connsiteY3" fmla="*/ 225944 h 640019"/>
                <a:gd name="connsiteX4" fmla="*/ 188393 w 340152"/>
                <a:gd name="connsiteY4" fmla="*/ 225944 h 640019"/>
                <a:gd name="connsiteX0" fmla="*/ 340152 w 340152"/>
                <a:gd name="connsiteY0" fmla="*/ 225944 h 640019"/>
                <a:gd name="connsiteX1" fmla="*/ 188393 w 340152"/>
                <a:gd name="connsiteY1" fmla="*/ 0 h 640019"/>
                <a:gd name="connsiteX2" fmla="*/ 33 w 340152"/>
                <a:gd name="connsiteY2" fmla="*/ 640019 h 640019"/>
                <a:gd name="connsiteX3" fmla="*/ 340152 w 340152"/>
                <a:gd name="connsiteY3" fmla="*/ 225944 h 640019"/>
                <a:gd name="connsiteX0" fmla="*/ 310802 w 310802"/>
                <a:gd name="connsiteY0" fmla="*/ 658441 h 658441"/>
                <a:gd name="connsiteX1" fmla="*/ 188393 w 310802"/>
                <a:gd name="connsiteY1" fmla="*/ 0 h 658441"/>
                <a:gd name="connsiteX2" fmla="*/ 33 w 310802"/>
                <a:gd name="connsiteY2" fmla="*/ 640019 h 658441"/>
                <a:gd name="connsiteX3" fmla="*/ 310802 w 310802"/>
                <a:gd name="connsiteY3" fmla="*/ 658441 h 658441"/>
                <a:gd name="connsiteX0" fmla="*/ 310790 w 310790"/>
                <a:gd name="connsiteY0" fmla="*/ 183287 h 183287"/>
                <a:gd name="connsiteX1" fmla="*/ 309637 w 310790"/>
                <a:gd name="connsiteY1" fmla="*/ 0 h 183287"/>
                <a:gd name="connsiteX2" fmla="*/ 21 w 310790"/>
                <a:gd name="connsiteY2" fmla="*/ 164865 h 183287"/>
                <a:gd name="connsiteX3" fmla="*/ 310790 w 310790"/>
                <a:gd name="connsiteY3" fmla="*/ 183287 h 183287"/>
                <a:gd name="connsiteX0" fmla="*/ 310790 w 310790"/>
                <a:gd name="connsiteY0" fmla="*/ 183287 h 183287"/>
                <a:gd name="connsiteX1" fmla="*/ 309637 w 310790"/>
                <a:gd name="connsiteY1" fmla="*/ 0 h 183287"/>
                <a:gd name="connsiteX2" fmla="*/ 21 w 310790"/>
                <a:gd name="connsiteY2" fmla="*/ 164865 h 183287"/>
                <a:gd name="connsiteX3" fmla="*/ 310790 w 310790"/>
                <a:gd name="connsiteY3" fmla="*/ 183287 h 183287"/>
                <a:gd name="connsiteX0" fmla="*/ 308193 w 309994"/>
                <a:gd name="connsiteY0" fmla="*/ 187935 h 187935"/>
                <a:gd name="connsiteX1" fmla="*/ 309637 w 309994"/>
                <a:gd name="connsiteY1" fmla="*/ 0 h 187935"/>
                <a:gd name="connsiteX2" fmla="*/ 21 w 309994"/>
                <a:gd name="connsiteY2" fmla="*/ 164865 h 187935"/>
                <a:gd name="connsiteX3" fmla="*/ 308193 w 309994"/>
                <a:gd name="connsiteY3" fmla="*/ 187935 h 187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994" h="187935">
                  <a:moveTo>
                    <a:pt x="308193" y="187935"/>
                  </a:moveTo>
                  <a:cubicBezTo>
                    <a:pt x="307809" y="126839"/>
                    <a:pt x="310021" y="61096"/>
                    <a:pt x="309637" y="0"/>
                  </a:cubicBezTo>
                  <a:cubicBezTo>
                    <a:pt x="322241" y="7513"/>
                    <a:pt x="-2959" y="155408"/>
                    <a:pt x="21" y="164865"/>
                  </a:cubicBezTo>
                  <a:lnTo>
                    <a:pt x="308193" y="187935"/>
                  </a:lnTo>
                  <a:close/>
                </a:path>
              </a:pathLst>
            </a:cu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4" name="Google Shape;99;p16">
              <a:extLst>
                <a:ext uri="{FF2B5EF4-FFF2-40B4-BE49-F238E27FC236}">
                  <a16:creationId xmlns:a16="http://schemas.microsoft.com/office/drawing/2014/main" id="{C2930C8A-E7AC-4DA9-AC33-B5A7452D5F74}"/>
                </a:ext>
              </a:extLst>
            </p:cNvPr>
            <p:cNvSpPr/>
            <p:nvPr userDrawn="1"/>
          </p:nvSpPr>
          <p:spPr>
            <a:xfrm rot="5400000" flipH="1">
              <a:off x="7449607" y="1946953"/>
              <a:ext cx="220762" cy="374820"/>
            </a:xfrm>
            <a:prstGeom prst="triangle">
              <a:avLst>
                <a:gd name="adj" fmla="val 0"/>
              </a:avLst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5" name="Google Shape;60;p16">
              <a:extLst>
                <a:ext uri="{FF2B5EF4-FFF2-40B4-BE49-F238E27FC236}">
                  <a16:creationId xmlns:a16="http://schemas.microsoft.com/office/drawing/2014/main" id="{6534D92F-F897-49F2-BF13-0357CAE81871}"/>
                </a:ext>
              </a:extLst>
            </p:cNvPr>
            <p:cNvSpPr/>
            <p:nvPr userDrawn="1"/>
          </p:nvSpPr>
          <p:spPr>
            <a:xfrm rot="21328728" flipV="1">
              <a:off x="6966381" y="2561950"/>
              <a:ext cx="106145" cy="171425"/>
            </a:xfrm>
            <a:prstGeom prst="triangle">
              <a:avLst>
                <a:gd name="adj" fmla="val 0"/>
              </a:avLst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Google Shape;60;p16">
              <a:extLst>
                <a:ext uri="{FF2B5EF4-FFF2-40B4-BE49-F238E27FC236}">
                  <a16:creationId xmlns:a16="http://schemas.microsoft.com/office/drawing/2014/main" id="{094F89DB-197F-4E35-9915-09B270F164F2}"/>
                </a:ext>
              </a:extLst>
            </p:cNvPr>
            <p:cNvSpPr/>
            <p:nvPr userDrawn="1"/>
          </p:nvSpPr>
          <p:spPr>
            <a:xfrm flipH="1">
              <a:off x="2286915" y="2188012"/>
              <a:ext cx="123185" cy="225168"/>
            </a:xfrm>
            <a:prstGeom prst="triangle">
              <a:avLst>
                <a:gd name="adj" fmla="val 0"/>
              </a:avLst>
            </a:prstGeom>
            <a:solidFill>
              <a:srgbClr val="0063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2" name="Google Shape;51;p7">
            <a:extLst>
              <a:ext uri="{FF2B5EF4-FFF2-40B4-BE49-F238E27FC236}">
                <a16:creationId xmlns:a16="http://schemas.microsoft.com/office/drawing/2014/main" id="{759E9679-0F5F-44C9-AE85-060FADB7562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noProof="0" dirty="0"/>
              <a:t>ICLEI around the world</a:t>
            </a:r>
          </a:p>
        </p:txBody>
      </p:sp>
      <p:sp>
        <p:nvSpPr>
          <p:cNvPr id="84" name="CaixaDeTexto 113">
            <a:extLst>
              <a:ext uri="{FF2B5EF4-FFF2-40B4-BE49-F238E27FC236}">
                <a16:creationId xmlns:a16="http://schemas.microsoft.com/office/drawing/2014/main" id="{C08A91EE-27E7-4C8E-8A08-546899F9540E}"/>
              </a:ext>
            </a:extLst>
          </p:cNvPr>
          <p:cNvSpPr txBox="1"/>
          <p:nvPr userDrawn="1"/>
        </p:nvSpPr>
        <p:spPr>
          <a:xfrm>
            <a:off x="1768899" y="4241149"/>
            <a:ext cx="1003297" cy="2721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n-GB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rgentina Off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osario, Argentina</a:t>
            </a:r>
            <a:endParaRPr kumimoji="0" lang="en-GB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104;p16">
            <a:extLst>
              <a:ext uri="{FF2B5EF4-FFF2-40B4-BE49-F238E27FC236}">
                <a16:creationId xmlns:a16="http://schemas.microsoft.com/office/drawing/2014/main" id="{4B39F2B9-A3EB-4406-8B3F-362CDE6FF019}"/>
              </a:ext>
            </a:extLst>
          </p:cNvPr>
          <p:cNvSpPr/>
          <p:nvPr userDrawn="1"/>
        </p:nvSpPr>
        <p:spPr>
          <a:xfrm>
            <a:off x="6300705" y="2566057"/>
            <a:ext cx="1133350" cy="359935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txBody>
          <a:bodyPr spcFirstLastPara="1" wrap="square" lIns="72000" tIns="91425" rIns="36000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7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angladesh Project Office</a:t>
            </a:r>
            <a:endParaRPr sz="7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GB" sz="700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haka,Bangladesh</a:t>
            </a:r>
            <a:endParaRPr sz="7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" name="CaixaDeTexto 116">
            <a:extLst>
              <a:ext uri="{FF2B5EF4-FFF2-40B4-BE49-F238E27FC236}">
                <a16:creationId xmlns:a16="http://schemas.microsoft.com/office/drawing/2014/main" id="{2D9AE888-4186-4306-9BCE-DDBB2F5102B7}"/>
              </a:ext>
            </a:extLst>
          </p:cNvPr>
          <p:cNvSpPr txBox="1"/>
          <p:nvPr userDrawn="1"/>
        </p:nvSpPr>
        <p:spPr>
          <a:xfrm>
            <a:off x="2377557" y="3565332"/>
            <a:ext cx="1059194" cy="2721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n-GB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ombia Off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edellin, Colombia</a:t>
            </a:r>
            <a:endParaRPr kumimoji="0" lang="en-GB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CaixaDeTexto 130">
            <a:extLst>
              <a:ext uri="{FF2B5EF4-FFF2-40B4-BE49-F238E27FC236}">
                <a16:creationId xmlns:a16="http://schemas.microsoft.com/office/drawing/2014/main" id="{8E608C84-D3F8-4618-AA7E-2121F9ADA893}"/>
              </a:ext>
            </a:extLst>
          </p:cNvPr>
          <p:cNvSpPr txBox="1"/>
          <p:nvPr userDrawn="1"/>
        </p:nvSpPr>
        <p:spPr>
          <a:xfrm flipH="1">
            <a:off x="5588423" y="3411477"/>
            <a:ext cx="897669" cy="272186"/>
          </a:xfrm>
          <a:prstGeom prst="rect">
            <a:avLst/>
          </a:prstGeom>
          <a:solidFill>
            <a:srgbClr val="595959"/>
          </a:solidFill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n-GB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uth India </a:t>
            </a:r>
            <a:r>
              <a:rPr kumimoji="0" lang="en-GB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enter</a:t>
            </a:r>
            <a:endParaRPr kumimoji="0" lang="en-GB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yderabad, India</a:t>
            </a:r>
            <a:endParaRPr kumimoji="0" lang="en-GB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6647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3">
          <p15:clr>
            <a:srgbClr val="FA7B17"/>
          </p15:clr>
        </p15:guide>
        <p15:guide id="2" pos="397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35646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2159733" y="2914650"/>
            <a:ext cx="4824536" cy="131445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nl-NL" dirty="0"/>
          </a:p>
        </p:txBody>
      </p:sp>
      <p:pic>
        <p:nvPicPr>
          <p:cNvPr id="7" name="Picture 2" descr="F:\PROPOSALS &amp; CONTRACTS\Contract\Research Contract\BR32036 Urban Agenda\FWC management\Communication\2. Visuals\1. Logos\URBANAGENDA_logo-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3283" y="3543300"/>
            <a:ext cx="1296325" cy="442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5AF704E-95F5-B85F-5D00-01D473DCC7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436" y="327776"/>
            <a:ext cx="875029" cy="87582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2AA6236-3AB5-82F9-4A73-76ED4A5B14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2862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9"/>
          <p:cNvSpPr txBox="1">
            <a:spLocks noGrp="1"/>
          </p:cNvSpPr>
          <p:nvPr>
            <p:ph type="body" idx="1"/>
          </p:nvPr>
        </p:nvSpPr>
        <p:spPr>
          <a:xfrm>
            <a:off x="531775" y="880913"/>
            <a:ext cx="6130800" cy="42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➔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◆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◆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◆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/>
          </a:p>
        </p:txBody>
      </p:sp>
      <p:sp>
        <p:nvSpPr>
          <p:cNvPr id="60" name="Google Shape;60;p9"/>
          <p:cNvSpPr txBox="1">
            <a:spLocks noGrp="1"/>
          </p:cNvSpPr>
          <p:nvPr>
            <p:ph type="title"/>
          </p:nvPr>
        </p:nvSpPr>
        <p:spPr>
          <a:xfrm>
            <a:off x="532800" y="367200"/>
            <a:ext cx="6145625" cy="474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 baseline="0">
                <a:solidFill>
                  <a:schemeClr val="dk1"/>
                </a:solidFill>
                <a:latin typeface="+mj-lt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61" name="Google Shape;61;p9"/>
          <p:cNvSpPr/>
          <p:nvPr/>
        </p:nvSpPr>
        <p:spPr>
          <a:xfrm>
            <a:off x="532777" y="1806692"/>
            <a:ext cx="2516654" cy="1260415"/>
          </a:xfrm>
          <a:prstGeom prst="rect">
            <a:avLst/>
          </a:prstGeom>
          <a:solidFill>
            <a:srgbClr val="00636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1" i="0" u="none" strike="noStrike" cap="none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2500+ </a:t>
            </a:r>
            <a:r>
              <a:rPr lang="en-GB" sz="20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LOCAL </a:t>
            </a:r>
            <a:endParaRPr sz="14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AND REGIONAL GOVERNMENTS</a:t>
            </a:r>
            <a:endParaRPr sz="14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9"/>
          <p:cNvSpPr/>
          <p:nvPr/>
        </p:nvSpPr>
        <p:spPr>
          <a:xfrm>
            <a:off x="3387994" y="1806686"/>
            <a:ext cx="2516654" cy="1260415"/>
          </a:xfrm>
          <a:prstGeom prst="rect">
            <a:avLst/>
          </a:prstGeom>
          <a:solidFill>
            <a:srgbClr val="00636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en-GB" sz="4000" b="1" i="0" u="none" strike="noStrike" cap="none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24</a:t>
            </a:r>
            <a:r>
              <a:rPr lang="en-GB" sz="2400" b="1" i="0" u="none" strike="noStrike" cap="none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lang="en-GB" sz="24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OFFICES WORLDWIDE</a:t>
            </a:r>
            <a:endParaRPr sz="2000" b="1" i="0" u="none" strike="noStrike" cap="none" dirty="0">
              <a:solidFill>
                <a:srgbClr val="AFD878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63" name="Google Shape;63;p9"/>
          <p:cNvSpPr/>
          <p:nvPr/>
        </p:nvSpPr>
        <p:spPr>
          <a:xfrm>
            <a:off x="6243211" y="1806685"/>
            <a:ext cx="2516654" cy="1260415"/>
          </a:xfrm>
          <a:prstGeom prst="rect">
            <a:avLst/>
          </a:prstGeom>
          <a:solidFill>
            <a:srgbClr val="00636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ACTIVE IN</a:t>
            </a:r>
            <a:endParaRPr sz="20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r>
              <a:rPr lang="en-GB" sz="2500" b="1" i="0" u="none" strike="noStrike" cap="none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125+ </a:t>
            </a:r>
            <a:r>
              <a:rPr lang="en-GB" sz="20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COUNTRIES</a:t>
            </a:r>
            <a:endParaRPr sz="2000" b="1" i="0" u="none" strike="noStrike" cap="none" dirty="0">
              <a:solidFill>
                <a:srgbClr val="AFD878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64" name="Google Shape;64;p9"/>
          <p:cNvSpPr/>
          <p:nvPr/>
        </p:nvSpPr>
        <p:spPr>
          <a:xfrm>
            <a:off x="531775" y="3318672"/>
            <a:ext cx="2516654" cy="1260415"/>
          </a:xfrm>
          <a:prstGeom prst="rect">
            <a:avLst/>
          </a:prstGeom>
          <a:solidFill>
            <a:srgbClr val="00636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IMPACTING</a:t>
            </a:r>
            <a:r>
              <a:rPr lang="en-GB" sz="20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20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      </a:t>
            </a:r>
            <a:r>
              <a:rPr lang="en-GB" sz="2400" b="1" i="0" u="none" strike="noStrike" cap="none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25% </a:t>
            </a:r>
            <a:r>
              <a:rPr lang="en-GB" sz="18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OF</a:t>
            </a:r>
            <a:endParaRPr sz="1800" b="1" i="0" u="none" strike="noStrike" cap="none" dirty="0">
              <a:solidFill>
                <a:srgbClr val="AFD878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PEOPLE LIVING </a:t>
            </a:r>
            <a:endParaRPr sz="18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IN CITIES</a:t>
            </a:r>
            <a:endParaRPr sz="18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9"/>
          <p:cNvSpPr/>
          <p:nvPr/>
        </p:nvSpPr>
        <p:spPr>
          <a:xfrm>
            <a:off x="3387994" y="3318672"/>
            <a:ext cx="2516654" cy="1260415"/>
          </a:xfrm>
          <a:prstGeom prst="rect">
            <a:avLst/>
          </a:prstGeom>
          <a:solidFill>
            <a:srgbClr val="00636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</a:pPr>
            <a:r>
              <a:rPr lang="en-GB" sz="8800" b="1" i="0" u="none" strike="noStrike" cap="none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5</a:t>
            </a:r>
            <a:endParaRPr sz="4800" b="1" i="0" u="none" strike="noStrike" cap="none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66" name="Google Shape;66;p9"/>
          <p:cNvSpPr/>
          <p:nvPr/>
        </p:nvSpPr>
        <p:spPr>
          <a:xfrm>
            <a:off x="4160260" y="3703363"/>
            <a:ext cx="187901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INTERCONNECTED </a:t>
            </a:r>
            <a:endParaRPr sz="12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DEVELOPMENT </a:t>
            </a:r>
            <a:endParaRPr sz="12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PATHWAYS</a:t>
            </a:r>
            <a:endParaRPr sz="12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9"/>
          <p:cNvSpPr/>
          <p:nvPr/>
        </p:nvSpPr>
        <p:spPr>
          <a:xfrm>
            <a:off x="730558" y="3571499"/>
            <a:ext cx="903614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-GB" sz="13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MORE </a:t>
            </a:r>
            <a:endParaRPr sz="13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-GB" sz="13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THAN </a:t>
            </a:r>
            <a:endParaRPr sz="1300" b="0" i="0" u="none" strike="noStrike" cap="none" dirty="0">
              <a:solidFill>
                <a:srgbClr val="AFD8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2"/>
          </p:nvPr>
        </p:nvSpPr>
        <p:spPr>
          <a:xfrm>
            <a:off x="531776" y="4767263"/>
            <a:ext cx="146607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296771-76B4-4B20-B64B-84032F8FAFE9}" type="datetime1">
              <a:rPr lang="en-GB" smtClean="0"/>
              <a:t>15/10/2025</a:t>
            </a:fld>
            <a:endParaRPr lang="en-GB" dirty="0"/>
          </a:p>
        </p:txBody>
      </p:sp>
      <p:sp>
        <p:nvSpPr>
          <p:cNvPr id="1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143845" y="4767263"/>
            <a:ext cx="5263563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7561089" y="4767263"/>
            <a:ext cx="138120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67708-1034-449E-BA7A-23703E633FE3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Google Shape;63;p9">
            <a:extLst>
              <a:ext uri="{FF2B5EF4-FFF2-40B4-BE49-F238E27FC236}">
                <a16:creationId xmlns:a16="http://schemas.microsoft.com/office/drawing/2014/main" id="{BF264F30-997A-428E-B1FE-39A960B8416E}"/>
              </a:ext>
            </a:extLst>
          </p:cNvPr>
          <p:cNvSpPr/>
          <p:nvPr userDrawn="1"/>
        </p:nvSpPr>
        <p:spPr>
          <a:xfrm>
            <a:off x="6253526" y="3318672"/>
            <a:ext cx="2516654" cy="1260415"/>
          </a:xfrm>
          <a:prstGeom prst="rect">
            <a:avLst/>
          </a:prstGeom>
          <a:solidFill>
            <a:srgbClr val="00636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r>
              <a:rPr lang="en-GB" sz="3200" b="1" i="0" u="none" strike="noStrike" cap="none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170+ </a:t>
            </a:r>
            <a:r>
              <a:rPr lang="en-GB" sz="2000" b="1" i="0" u="none" strike="noStrike" cap="none" dirty="0">
                <a:solidFill>
                  <a:srgbClr val="AFD878"/>
                </a:solidFill>
                <a:latin typeface="Verdana"/>
                <a:ea typeface="Verdana"/>
                <a:cs typeface="Verdana"/>
                <a:sym typeface="Verdana"/>
              </a:rPr>
              <a:t>MEMBERS IN EUROPE</a:t>
            </a:r>
            <a:endParaRPr sz="2000" b="1" i="0" u="none" strike="noStrike" cap="none" dirty="0">
              <a:solidFill>
                <a:srgbClr val="AFD878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52588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">
          <p15:clr>
            <a:srgbClr val="FA7B17"/>
          </p15:clr>
        </p15:guide>
        <p15:guide id="2" orient="horz" pos="510">
          <p15:clr>
            <a:srgbClr val="FA7B17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bg>
      <p:bgPr>
        <a:solidFill>
          <a:srgbClr val="00636C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oogle Shape;54;p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932800" y="2986300"/>
            <a:ext cx="4314375" cy="21572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8"/>
          <p:cNvSpPr txBox="1">
            <a:spLocks noGrp="1"/>
          </p:cNvSpPr>
          <p:nvPr>
            <p:ph type="title"/>
          </p:nvPr>
        </p:nvSpPr>
        <p:spPr>
          <a:xfrm>
            <a:off x="532800" y="367200"/>
            <a:ext cx="5326500" cy="126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6" name="Google Shape;56;p8"/>
          <p:cNvSpPr txBox="1">
            <a:spLocks noGrp="1"/>
          </p:cNvSpPr>
          <p:nvPr>
            <p:ph type="subTitle" idx="1"/>
          </p:nvPr>
        </p:nvSpPr>
        <p:spPr>
          <a:xfrm>
            <a:off x="516950" y="1714225"/>
            <a:ext cx="5459400" cy="36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0E9CE3A-A9EB-4FCE-8F5B-9E9E81AE02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91450" y="189182"/>
            <a:ext cx="1193800" cy="772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55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FA7B17"/>
          </p15:clr>
        </p15:guide>
        <p15:guide id="2" orient="horz" pos="283">
          <p15:clr>
            <a:srgbClr val="FA7B17"/>
          </p15:clr>
        </p15:guide>
        <p15:guide id="3" orient="horz" pos="454">
          <p15:clr>
            <a:srgbClr val="FA7B17"/>
          </p15:clr>
        </p15:guide>
        <p15:guide id="4" orient="horz" pos="1247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314;p32"/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5289800" y="3226570"/>
            <a:ext cx="3854199" cy="1927126"/>
          </a:xfrm>
          <a:prstGeom prst="rect">
            <a:avLst/>
          </a:prstGeom>
          <a:noFill/>
          <a:ln>
            <a:noFill/>
          </a:ln>
        </p:spPr>
      </p:pic>
      <p:sp>
        <p:nvSpPr>
          <p:cNvPr id="167" name="Google Shape;316;p32"/>
          <p:cNvSpPr txBox="1">
            <a:spLocks noGrp="1"/>
          </p:cNvSpPr>
          <p:nvPr>
            <p:ph type="body" idx="1"/>
          </p:nvPr>
        </p:nvSpPr>
        <p:spPr>
          <a:xfrm>
            <a:off x="792425" y="1195520"/>
            <a:ext cx="3703375" cy="92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endParaRPr dirty="0"/>
          </a:p>
        </p:txBody>
      </p:sp>
      <p:sp>
        <p:nvSpPr>
          <p:cNvPr id="168" name="Google Shape;317;p32"/>
          <p:cNvSpPr txBox="1">
            <a:spLocks noGrp="1"/>
          </p:cNvSpPr>
          <p:nvPr>
            <p:ph type="body" idx="2"/>
          </p:nvPr>
        </p:nvSpPr>
        <p:spPr>
          <a:xfrm>
            <a:off x="792425" y="2320570"/>
            <a:ext cx="3460920" cy="92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endParaRPr dirty="0"/>
          </a:p>
        </p:txBody>
      </p:sp>
      <p:sp>
        <p:nvSpPr>
          <p:cNvPr id="170" name="Google Shape;51;p7"/>
          <p:cNvSpPr txBox="1">
            <a:spLocks noGrp="1"/>
          </p:cNvSpPr>
          <p:nvPr>
            <p:ph type="title" hasCustomPrompt="1"/>
          </p:nvPr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/>
              <a:t>Contact us</a:t>
            </a:r>
            <a:endParaRPr dirty="0"/>
          </a:p>
        </p:txBody>
      </p:sp>
      <p:sp>
        <p:nvSpPr>
          <p:cNvPr id="17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495800" y="889000"/>
            <a:ext cx="3286425" cy="3294063"/>
          </a:xfrm>
          <a:prstGeom prst="ellipse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1" name="Google Shape;312;p27">
            <a:hlinkClick r:id="rId3"/>
            <a:extLst>
              <a:ext uri="{FF2B5EF4-FFF2-40B4-BE49-F238E27FC236}">
                <a16:creationId xmlns:a16="http://schemas.microsoft.com/office/drawing/2014/main" id="{CEAF9527-D2D3-4081-B8DF-960D13801800}"/>
              </a:ext>
            </a:extLst>
          </p:cNvPr>
          <p:cNvSpPr/>
          <p:nvPr userDrawn="1"/>
        </p:nvSpPr>
        <p:spPr>
          <a:xfrm>
            <a:off x="843106" y="4159325"/>
            <a:ext cx="1093595" cy="1928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9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lei-europe.org</a:t>
            </a:r>
            <a:endParaRPr sz="900" dirty="0">
              <a:solidFill>
                <a:schemeClr val="tx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82" name="Google Shape;316;p27">
            <a:hlinkClick r:id="rId5"/>
            <a:extLst>
              <a:ext uri="{FF2B5EF4-FFF2-40B4-BE49-F238E27FC236}">
                <a16:creationId xmlns:a16="http://schemas.microsoft.com/office/drawing/2014/main" id="{D5CAE96D-B6BE-471E-9F39-E2D25DCA95E5}"/>
              </a:ext>
            </a:extLst>
          </p:cNvPr>
          <p:cNvSpPr/>
          <p:nvPr userDrawn="1"/>
        </p:nvSpPr>
        <p:spPr>
          <a:xfrm>
            <a:off x="2336863" y="4168514"/>
            <a:ext cx="1059300" cy="20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LEI_Europe</a:t>
            </a:r>
            <a:endParaRPr sz="900" dirty="0">
              <a:solidFill>
                <a:schemeClr val="tx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83" name="Google Shape;317;p27">
            <a:hlinkClick r:id="rId5"/>
            <a:extLst>
              <a:ext uri="{FF2B5EF4-FFF2-40B4-BE49-F238E27FC236}">
                <a16:creationId xmlns:a16="http://schemas.microsoft.com/office/drawing/2014/main" id="{84174E6B-2A54-4E91-92C9-8143251B5316}"/>
              </a:ext>
            </a:extLst>
          </p:cNvPr>
          <p:cNvSpPr/>
          <p:nvPr userDrawn="1"/>
        </p:nvSpPr>
        <p:spPr>
          <a:xfrm>
            <a:off x="3661917" y="4166615"/>
            <a:ext cx="1059300" cy="20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9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ICLEI_Europe</a:t>
            </a:r>
            <a:endParaRPr sz="900" dirty="0">
              <a:solidFill>
                <a:schemeClr val="tx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84" name="Grafik 6">
            <a:extLst>
              <a:ext uri="{FF2B5EF4-FFF2-40B4-BE49-F238E27FC236}">
                <a16:creationId xmlns:a16="http://schemas.microsoft.com/office/drawing/2014/main" id="{18D584C9-93E3-4FDC-81EB-144239E0455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439" y="4137540"/>
            <a:ext cx="214604" cy="214604"/>
          </a:xfrm>
          <a:prstGeom prst="rect">
            <a:avLst/>
          </a:prstGeom>
        </p:spPr>
      </p:pic>
      <p:pic>
        <p:nvPicPr>
          <p:cNvPr id="185" name="Grafik 7">
            <a:extLst>
              <a:ext uri="{FF2B5EF4-FFF2-40B4-BE49-F238E27FC236}">
                <a16:creationId xmlns:a16="http://schemas.microsoft.com/office/drawing/2014/main" id="{AADB75C0-1D51-4CB8-BBA5-5EECDCB9F3B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4209" y="4167056"/>
            <a:ext cx="266280" cy="187308"/>
          </a:xfrm>
          <a:prstGeom prst="rect">
            <a:avLst/>
          </a:prstGeom>
        </p:spPr>
      </p:pic>
      <p:pic>
        <p:nvPicPr>
          <p:cNvPr id="186" name="Grafik 9">
            <a:extLst>
              <a:ext uri="{FF2B5EF4-FFF2-40B4-BE49-F238E27FC236}">
                <a16:creationId xmlns:a16="http://schemas.microsoft.com/office/drawing/2014/main" id="{913A5B34-7E87-4061-AE41-6433F833AF6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00" y="4065268"/>
            <a:ext cx="372650" cy="372650"/>
          </a:xfrm>
          <a:prstGeom prst="rect">
            <a:avLst/>
          </a:prstGeom>
        </p:spPr>
      </p:pic>
      <p:sp>
        <p:nvSpPr>
          <p:cNvPr id="188" name="Ellipse 11">
            <a:extLst>
              <a:ext uri="{FF2B5EF4-FFF2-40B4-BE49-F238E27FC236}">
                <a16:creationId xmlns:a16="http://schemas.microsoft.com/office/drawing/2014/main" id="{DAFA6E6E-7D9A-411B-AB39-15DECDE92465}"/>
              </a:ext>
            </a:extLst>
          </p:cNvPr>
          <p:cNvSpPr/>
          <p:nvPr userDrawn="1"/>
        </p:nvSpPr>
        <p:spPr>
          <a:xfrm>
            <a:off x="1964962" y="4064798"/>
            <a:ext cx="391565" cy="385763"/>
          </a:xfrm>
          <a:prstGeom prst="ellipse">
            <a:avLst/>
          </a:prstGeom>
          <a:noFill/>
          <a:ln>
            <a:solidFill>
              <a:srgbClr val="0063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de-DE" sz="1050">
              <a:solidFill>
                <a:schemeClr val="tx1"/>
              </a:solidFill>
            </a:endParaRPr>
          </a:p>
        </p:txBody>
      </p:sp>
      <p:sp>
        <p:nvSpPr>
          <p:cNvPr id="189" name="Ellipse 25">
            <a:extLst>
              <a:ext uri="{FF2B5EF4-FFF2-40B4-BE49-F238E27FC236}">
                <a16:creationId xmlns:a16="http://schemas.microsoft.com/office/drawing/2014/main" id="{7EABB34F-D50D-433D-B5C3-6E4E0F7D1029}"/>
              </a:ext>
            </a:extLst>
          </p:cNvPr>
          <p:cNvSpPr/>
          <p:nvPr userDrawn="1"/>
        </p:nvSpPr>
        <p:spPr>
          <a:xfrm>
            <a:off x="3336072" y="4050940"/>
            <a:ext cx="391565" cy="385763"/>
          </a:xfrm>
          <a:prstGeom prst="ellipse">
            <a:avLst/>
          </a:prstGeom>
          <a:noFill/>
          <a:ln>
            <a:solidFill>
              <a:srgbClr val="0063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de-DE" sz="1050">
              <a:solidFill>
                <a:schemeClr val="tx1"/>
              </a:solidFill>
            </a:endParaRPr>
          </a:p>
        </p:txBody>
      </p:sp>
      <p:sp>
        <p:nvSpPr>
          <p:cNvPr id="19" name="Google Shape;316;p27">
            <a:hlinkClick r:id="rId5"/>
            <a:extLst>
              <a:ext uri="{FF2B5EF4-FFF2-40B4-BE49-F238E27FC236}">
                <a16:creationId xmlns:a16="http://schemas.microsoft.com/office/drawing/2014/main" id="{D5CAE96D-B6BE-471E-9F39-E2D25DCA95E5}"/>
              </a:ext>
            </a:extLst>
          </p:cNvPr>
          <p:cNvSpPr/>
          <p:nvPr userDrawn="1"/>
        </p:nvSpPr>
        <p:spPr>
          <a:xfrm>
            <a:off x="1571186" y="4776300"/>
            <a:ext cx="1059301" cy="20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LEI_Europe</a:t>
            </a:r>
            <a:endParaRPr sz="900" dirty="0">
              <a:solidFill>
                <a:schemeClr val="tx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B337FF6-A6FC-8B9B-D7B3-D444D4D54B30}"/>
              </a:ext>
            </a:extLst>
          </p:cNvPr>
          <p:cNvGrpSpPr/>
          <p:nvPr userDrawn="1"/>
        </p:nvGrpSpPr>
        <p:grpSpPr>
          <a:xfrm>
            <a:off x="1174552" y="4687255"/>
            <a:ext cx="391565" cy="385763"/>
            <a:chOff x="1964962" y="4687255"/>
            <a:chExt cx="391565" cy="385763"/>
          </a:xfrm>
        </p:grpSpPr>
        <p:sp>
          <p:nvSpPr>
            <p:cNvPr id="18" name="Ellipse 11">
              <a:extLst>
                <a:ext uri="{FF2B5EF4-FFF2-40B4-BE49-F238E27FC236}">
                  <a16:creationId xmlns:a16="http://schemas.microsoft.com/office/drawing/2014/main" id="{DAFA6E6E-7D9A-411B-AB39-15DECDE92465}"/>
                </a:ext>
              </a:extLst>
            </p:cNvPr>
            <p:cNvSpPr/>
            <p:nvPr userDrawn="1"/>
          </p:nvSpPr>
          <p:spPr>
            <a:xfrm>
              <a:off x="1964962" y="4687255"/>
              <a:ext cx="391565" cy="385763"/>
            </a:xfrm>
            <a:prstGeom prst="ellipse">
              <a:avLst/>
            </a:prstGeom>
            <a:noFill/>
            <a:ln>
              <a:solidFill>
                <a:srgbClr val="0063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ctr"/>
              <a:endParaRPr lang="de-DE" sz="1050">
                <a:solidFill>
                  <a:schemeClr val="tx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45C2EE5-19ED-4BFE-A163-B7CECF7B79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2036022" y="4754316"/>
              <a:ext cx="252000" cy="253491"/>
            </a:xfrm>
            <a:prstGeom prst="rect">
              <a:avLst/>
            </a:prstGeom>
          </p:spPr>
        </p:pic>
      </p:grpSp>
      <p:sp>
        <p:nvSpPr>
          <p:cNvPr id="3" name="Google Shape;209;p27">
            <a:hlinkClick r:id="rId5"/>
            <a:extLst>
              <a:ext uri="{FF2B5EF4-FFF2-40B4-BE49-F238E27FC236}">
                <a16:creationId xmlns:a16="http://schemas.microsoft.com/office/drawing/2014/main" id="{BCD17766-7553-F5D4-177F-0AA4A5928782}"/>
              </a:ext>
            </a:extLst>
          </p:cNvPr>
          <p:cNvSpPr/>
          <p:nvPr userDrawn="1"/>
        </p:nvSpPr>
        <p:spPr>
          <a:xfrm>
            <a:off x="2971015" y="4761228"/>
            <a:ext cx="906942" cy="20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5" tIns="25700" rIns="51425" bIns="2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sng" strike="noStrike" cap="none" dirty="0" err="1">
                <a:solidFill>
                  <a:schemeClr val="tx1"/>
                </a:solidFill>
                <a:latin typeface="Noto Sans"/>
                <a:ea typeface="Noto Sans"/>
                <a:cs typeface="Noto Sans"/>
                <a:sym typeface="Noto Sans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LEI_Europe</a:t>
            </a:r>
            <a:endParaRPr sz="900" b="0" i="0" u="none" strike="noStrike" cap="none" dirty="0">
              <a:solidFill>
                <a:schemeClr val="tx1"/>
              </a:solidFill>
              <a:latin typeface="Noto Sans"/>
              <a:ea typeface="Noto Sans"/>
              <a:cs typeface="Noto Sans"/>
              <a:sym typeface="Noto San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132C73-D6EA-118B-0C17-E73585D2E063}"/>
              </a:ext>
            </a:extLst>
          </p:cNvPr>
          <p:cNvGrpSpPr/>
          <p:nvPr userDrawn="1"/>
        </p:nvGrpSpPr>
        <p:grpSpPr>
          <a:xfrm>
            <a:off x="2558444" y="4683022"/>
            <a:ext cx="391565" cy="385763"/>
            <a:chOff x="3348854" y="4683022"/>
            <a:chExt cx="391565" cy="385763"/>
          </a:xfrm>
        </p:grpSpPr>
        <p:sp>
          <p:nvSpPr>
            <p:cNvPr id="5" name="Ellipse 11">
              <a:extLst>
                <a:ext uri="{FF2B5EF4-FFF2-40B4-BE49-F238E27FC236}">
                  <a16:creationId xmlns:a16="http://schemas.microsoft.com/office/drawing/2014/main" id="{09D6B3B8-79BF-5FF3-557B-3CFA1CA14EDC}"/>
                </a:ext>
              </a:extLst>
            </p:cNvPr>
            <p:cNvSpPr/>
            <p:nvPr userDrawn="1"/>
          </p:nvSpPr>
          <p:spPr>
            <a:xfrm>
              <a:off x="3348854" y="4683022"/>
              <a:ext cx="391565" cy="385763"/>
            </a:xfrm>
            <a:prstGeom prst="ellipse">
              <a:avLst/>
            </a:prstGeom>
            <a:noFill/>
            <a:ln>
              <a:solidFill>
                <a:srgbClr val="0063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ctr"/>
              <a:endParaRPr lang="de-DE" sz="1050">
                <a:solidFill>
                  <a:schemeClr val="tx1"/>
                </a:solidFill>
              </a:endParaRPr>
            </a:p>
          </p:txBody>
        </p:sp>
        <p:pic>
          <p:nvPicPr>
            <p:cNvPr id="8" name="Picture 7" descr="A blue square with white letters&#10;&#10;Description automatically generated">
              <a:extLst>
                <a:ext uri="{FF2B5EF4-FFF2-40B4-BE49-F238E27FC236}">
                  <a16:creationId xmlns:a16="http://schemas.microsoft.com/office/drawing/2014/main" id="{20F0D1FD-5A5E-E1D3-E453-7748FCD9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3409309" y="4754602"/>
              <a:ext cx="269583" cy="2426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5106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CA2B0-85BC-4059-9C86-5B487B8CFF5F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664097"/>
            <a:ext cx="8496300" cy="683518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F1592A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1907706" y="1600200"/>
            <a:ext cx="7056908" cy="1943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1C7DC3"/>
                </a:solidFill>
              </a:defRPr>
            </a:lvl1pPr>
            <a:lvl2pPr marL="457189" indent="0">
              <a:buNone/>
              <a:defRPr>
                <a:solidFill>
                  <a:srgbClr val="1C7DC3"/>
                </a:solidFill>
              </a:defRPr>
            </a:lvl2pPr>
            <a:lvl3pPr marL="914378" indent="0">
              <a:buNone/>
              <a:defRPr>
                <a:solidFill>
                  <a:srgbClr val="1C7DC3"/>
                </a:solidFill>
              </a:defRPr>
            </a:lvl3pPr>
            <a:lvl4pPr marL="1371566" indent="0">
              <a:buNone/>
              <a:defRPr>
                <a:solidFill>
                  <a:srgbClr val="1C7DC3"/>
                </a:solidFill>
              </a:defRPr>
            </a:lvl4pPr>
            <a:lvl5pPr marL="1828754" indent="0">
              <a:buNone/>
              <a:defRPr>
                <a:solidFill>
                  <a:srgbClr val="1C7D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729FFF-27BF-98C0-ABCB-2FEE2009D3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436" y="327776"/>
            <a:ext cx="875029" cy="87582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2966558-B908-8A69-DBC8-39FA2207A0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2249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4" y="699542"/>
            <a:ext cx="8496175" cy="85725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F1592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14" y="1693715"/>
            <a:ext cx="8496175" cy="33263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>
                <a:solidFill>
                  <a:srgbClr val="1C7DC3"/>
                </a:solidFill>
              </a:defRPr>
            </a:lvl1pPr>
            <a:lvl2pPr marL="457189" indent="0" algn="r">
              <a:buNone/>
              <a:defRPr>
                <a:solidFill>
                  <a:srgbClr val="1C7DC3"/>
                </a:solidFill>
              </a:defRPr>
            </a:lvl2pPr>
            <a:lvl3pPr marL="914378" indent="0" algn="r">
              <a:buNone/>
              <a:defRPr>
                <a:solidFill>
                  <a:srgbClr val="1C7DC3"/>
                </a:solidFill>
              </a:defRPr>
            </a:lvl3pPr>
            <a:lvl4pPr marL="1371566" indent="0" algn="r">
              <a:buNone/>
              <a:defRPr>
                <a:solidFill>
                  <a:srgbClr val="1C7DC3"/>
                </a:solidFill>
              </a:defRPr>
            </a:lvl4pPr>
            <a:lvl5pPr marL="1828754" indent="0" algn="r">
              <a:buNone/>
              <a:defRPr>
                <a:solidFill>
                  <a:srgbClr val="1C7D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E7A69F-6832-F24A-A36F-05390CB65B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436" y="327776"/>
            <a:ext cx="875029" cy="8758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0D8F2A-9481-C9EB-62F5-89E2EF2757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2479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CA2B0-85BC-4059-9C86-5B487B8CFF5F}" type="slidenum">
              <a:rPr lang="nl-NL" smtClean="0"/>
              <a:t>‹#›</a:t>
            </a:fld>
            <a:endParaRPr lang="nl-NL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932041" y="714525"/>
            <a:ext cx="4032573" cy="85725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3000">
                <a:solidFill>
                  <a:srgbClr val="F1592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932041" y="1846065"/>
            <a:ext cx="4032573" cy="339447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>
                <a:solidFill>
                  <a:srgbClr val="1C7DC3"/>
                </a:solidFill>
              </a:defRPr>
            </a:lvl1pPr>
            <a:lvl2pPr marL="457189" indent="0" algn="r">
              <a:buNone/>
              <a:defRPr>
                <a:solidFill>
                  <a:srgbClr val="1C7DC3"/>
                </a:solidFill>
              </a:defRPr>
            </a:lvl2pPr>
            <a:lvl3pPr marL="914378" indent="0" algn="r">
              <a:buNone/>
              <a:defRPr>
                <a:solidFill>
                  <a:srgbClr val="1C7DC3"/>
                </a:solidFill>
              </a:defRPr>
            </a:lvl3pPr>
            <a:lvl4pPr marL="1371566" indent="0" algn="r">
              <a:buNone/>
              <a:defRPr>
                <a:solidFill>
                  <a:srgbClr val="1C7DC3"/>
                </a:solidFill>
              </a:defRPr>
            </a:lvl4pPr>
            <a:lvl5pPr marL="1828754" indent="0" algn="r">
              <a:buNone/>
              <a:defRPr>
                <a:solidFill>
                  <a:srgbClr val="1C7D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0964D7-DB1B-46FD-8D44-C68E127BE3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436" y="327776"/>
            <a:ext cx="875029" cy="8758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93154A9-63AF-EB1E-5268-063EA89AB5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130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CA2B0-85BC-4059-9C86-5B487B8CFF5F}" type="slidenum">
              <a:rPr lang="nl-NL" smtClean="0"/>
              <a:t>‹#›</a:t>
            </a:fld>
            <a:endParaRPr lang="nl-NL"/>
          </a:p>
        </p:txBody>
      </p:sp>
      <p:sp>
        <p:nvSpPr>
          <p:cNvPr id="6" name="Shape 29"/>
          <p:cNvSpPr txBox="1"/>
          <p:nvPr userDrawn="1"/>
        </p:nvSpPr>
        <p:spPr>
          <a:xfrm>
            <a:off x="1074693" y="771551"/>
            <a:ext cx="1957200" cy="653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0" dirty="0">
                <a:solidFill>
                  <a:srgbClr val="F1592A"/>
                </a:solidFill>
                <a:latin typeface="Montserrat"/>
                <a:ea typeface="Montserrat"/>
                <a:cs typeface="Montserrat"/>
                <a:sym typeface="Montserrat"/>
              </a:rPr>
              <a:t>“</a:t>
            </a:r>
          </a:p>
        </p:txBody>
      </p:sp>
      <p:sp>
        <p:nvSpPr>
          <p:cNvPr id="8" name="Shape 29"/>
          <p:cNvSpPr txBox="1"/>
          <p:nvPr userDrawn="1"/>
        </p:nvSpPr>
        <p:spPr>
          <a:xfrm>
            <a:off x="7295320" y="2474305"/>
            <a:ext cx="1957200" cy="653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0" dirty="0">
                <a:solidFill>
                  <a:srgbClr val="F1592A"/>
                </a:solidFill>
                <a:latin typeface="Montserrat"/>
                <a:ea typeface="Montserrat"/>
                <a:cs typeface="Montserrat"/>
                <a:sym typeface="Montserrat"/>
              </a:rPr>
              <a:t>”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822862" y="1424605"/>
            <a:ext cx="5472459" cy="252092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1592A"/>
                </a:solidFill>
              </a:defRPr>
            </a:lvl1pPr>
            <a:lvl2pPr marL="457189" indent="0" algn="ctr">
              <a:buFontTx/>
              <a:buNone/>
              <a:defRPr>
                <a:solidFill>
                  <a:srgbClr val="F1592A"/>
                </a:solidFill>
              </a:defRPr>
            </a:lvl2pPr>
            <a:lvl3pPr marL="914378" indent="0" algn="ctr">
              <a:buFontTx/>
              <a:buNone/>
              <a:defRPr>
                <a:solidFill>
                  <a:srgbClr val="F1592A"/>
                </a:solidFill>
              </a:defRPr>
            </a:lvl3pPr>
            <a:lvl4pPr marL="1371566" indent="0" algn="ctr">
              <a:buFontTx/>
              <a:buNone/>
              <a:defRPr>
                <a:solidFill>
                  <a:srgbClr val="F1592A"/>
                </a:solidFill>
              </a:defRPr>
            </a:lvl4pPr>
            <a:lvl5pPr marL="1828754" indent="0" algn="ctr">
              <a:buFontTx/>
              <a:buNone/>
              <a:defRPr>
                <a:solidFill>
                  <a:srgbClr val="F1592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AB9CEA-4E7F-E328-0A17-7E65AEFC20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33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564186" y="699542"/>
            <a:ext cx="6400303" cy="85725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F1592A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4716350" y="1595663"/>
            <a:ext cx="2088232" cy="25269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1C7DC3"/>
                </a:solidFill>
              </a:defRPr>
            </a:lvl1pPr>
            <a:lvl2pPr marL="457189" indent="0" algn="ctr">
              <a:buNone/>
              <a:defRPr sz="2000">
                <a:solidFill>
                  <a:srgbClr val="1C7DC3"/>
                </a:solidFill>
              </a:defRPr>
            </a:lvl2pPr>
            <a:lvl3pPr marL="914378" indent="0" algn="ctr">
              <a:buNone/>
              <a:defRPr sz="2000">
                <a:solidFill>
                  <a:srgbClr val="1C7DC3"/>
                </a:solidFill>
              </a:defRPr>
            </a:lvl3pPr>
            <a:lvl4pPr marL="1371566" indent="0" algn="ctr">
              <a:buNone/>
              <a:defRPr sz="2000">
                <a:solidFill>
                  <a:srgbClr val="1C7DC3"/>
                </a:solidFill>
              </a:defRPr>
            </a:lvl4pPr>
            <a:lvl5pPr marL="1828754" indent="0" algn="ctr">
              <a:buNone/>
              <a:defRPr sz="2000">
                <a:solidFill>
                  <a:srgbClr val="1C7D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/>
          </p:nvPr>
        </p:nvSpPr>
        <p:spPr>
          <a:xfrm>
            <a:off x="2556546" y="1594894"/>
            <a:ext cx="2016125" cy="25209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2000">
                <a:solidFill>
                  <a:srgbClr val="1C7DC3"/>
                </a:solidFill>
              </a:defRPr>
            </a:lvl1pPr>
            <a:lvl2pPr marL="457189" indent="0">
              <a:buFontTx/>
              <a:buNone/>
              <a:defRPr sz="2000">
                <a:solidFill>
                  <a:srgbClr val="D0D0D0"/>
                </a:solidFill>
              </a:defRPr>
            </a:lvl2pPr>
            <a:lvl3pPr marL="914378" indent="0">
              <a:buFontTx/>
              <a:buNone/>
              <a:defRPr sz="2000">
                <a:solidFill>
                  <a:srgbClr val="D0D0D0"/>
                </a:solidFill>
              </a:defRPr>
            </a:lvl3pPr>
            <a:lvl4pPr marL="1371566" indent="0">
              <a:buFontTx/>
              <a:buNone/>
              <a:defRPr sz="2000">
                <a:solidFill>
                  <a:srgbClr val="D0D0D0"/>
                </a:solidFill>
              </a:defRPr>
            </a:lvl4pPr>
            <a:lvl5pPr marL="1828754" indent="0">
              <a:buFontTx/>
              <a:buNone/>
              <a:defRPr sz="2000">
                <a:solidFill>
                  <a:srgbClr val="D0D0D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/>
          </p:nvPr>
        </p:nvSpPr>
        <p:spPr>
          <a:xfrm>
            <a:off x="6948265" y="1594894"/>
            <a:ext cx="2016125" cy="25209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2000">
                <a:solidFill>
                  <a:srgbClr val="1C7DC3"/>
                </a:solidFill>
              </a:defRPr>
            </a:lvl1pPr>
            <a:lvl2pPr marL="457189" indent="0">
              <a:buFontTx/>
              <a:buNone/>
              <a:defRPr sz="2000">
                <a:solidFill>
                  <a:srgbClr val="D0D0D0"/>
                </a:solidFill>
              </a:defRPr>
            </a:lvl2pPr>
            <a:lvl3pPr marL="914378" indent="0">
              <a:buFontTx/>
              <a:buNone/>
              <a:defRPr sz="2000">
                <a:solidFill>
                  <a:srgbClr val="D0D0D0"/>
                </a:solidFill>
              </a:defRPr>
            </a:lvl3pPr>
            <a:lvl4pPr marL="1371566" indent="0">
              <a:buFontTx/>
              <a:buNone/>
              <a:defRPr sz="2000">
                <a:solidFill>
                  <a:srgbClr val="D0D0D0"/>
                </a:solidFill>
              </a:defRPr>
            </a:lvl4pPr>
            <a:lvl5pPr marL="1828754" indent="0">
              <a:buFontTx/>
              <a:buNone/>
              <a:defRPr sz="2000">
                <a:solidFill>
                  <a:srgbClr val="D0D0D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097ACD-CF35-C99C-9C55-C9FA2B4FB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826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0CA2B0-85BC-4059-9C86-5B487B8CFF5F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Shape 29"/>
          <p:cNvSpPr txBox="1"/>
          <p:nvPr userDrawn="1"/>
        </p:nvSpPr>
        <p:spPr>
          <a:xfrm>
            <a:off x="1074693" y="771551"/>
            <a:ext cx="1957200" cy="653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0" dirty="0">
                <a:solidFill>
                  <a:srgbClr val="8CC96C"/>
                </a:solidFill>
                <a:latin typeface="Montserrat"/>
                <a:ea typeface="Montserrat"/>
                <a:cs typeface="Montserrat"/>
                <a:sym typeface="Montserrat"/>
              </a:rPr>
              <a:t>“</a:t>
            </a:r>
          </a:p>
        </p:txBody>
      </p:sp>
      <p:sp>
        <p:nvSpPr>
          <p:cNvPr id="5" name="Shape 29"/>
          <p:cNvSpPr txBox="1"/>
          <p:nvPr userDrawn="1"/>
        </p:nvSpPr>
        <p:spPr>
          <a:xfrm>
            <a:off x="7295320" y="2474305"/>
            <a:ext cx="1957200" cy="653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0" dirty="0">
                <a:solidFill>
                  <a:srgbClr val="8CC96C"/>
                </a:solidFill>
                <a:latin typeface="Montserrat"/>
                <a:ea typeface="Montserrat"/>
                <a:cs typeface="Montserrat"/>
                <a:sym typeface="Montserrat"/>
              </a:rPr>
              <a:t>”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907704" y="1425576"/>
            <a:ext cx="5256584" cy="26583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8CC96C"/>
                </a:solidFill>
              </a:defRPr>
            </a:lvl1pPr>
            <a:lvl2pPr marL="457189" indent="0" algn="ctr">
              <a:buNone/>
              <a:defRPr>
                <a:solidFill>
                  <a:srgbClr val="8CC96C"/>
                </a:solidFill>
              </a:defRPr>
            </a:lvl2pPr>
            <a:lvl3pPr marL="914378" indent="0" algn="ctr">
              <a:buNone/>
              <a:defRPr>
                <a:solidFill>
                  <a:srgbClr val="8CC96C"/>
                </a:solidFill>
              </a:defRPr>
            </a:lvl3pPr>
            <a:lvl4pPr marL="1371566" indent="0" algn="ctr">
              <a:buNone/>
              <a:defRPr>
                <a:solidFill>
                  <a:srgbClr val="8CC96C"/>
                </a:solidFill>
              </a:defRPr>
            </a:lvl4pPr>
            <a:lvl5pPr marL="1828754" indent="0" algn="ctr">
              <a:buNone/>
              <a:defRPr>
                <a:solidFill>
                  <a:srgbClr val="8CC96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8F29F7B-3A85-7F53-F70D-421598063E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37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0CA2B0-85BC-4059-9C86-5B487B8CFF5F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Shape 29"/>
          <p:cNvSpPr txBox="1"/>
          <p:nvPr userDrawn="1"/>
        </p:nvSpPr>
        <p:spPr>
          <a:xfrm>
            <a:off x="1074693" y="771551"/>
            <a:ext cx="1957200" cy="653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0" dirty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“</a:t>
            </a:r>
          </a:p>
        </p:txBody>
      </p:sp>
      <p:sp>
        <p:nvSpPr>
          <p:cNvPr id="5" name="Shape 29"/>
          <p:cNvSpPr txBox="1"/>
          <p:nvPr userDrawn="1"/>
        </p:nvSpPr>
        <p:spPr>
          <a:xfrm>
            <a:off x="7295320" y="2474305"/>
            <a:ext cx="1957200" cy="653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0" dirty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”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52638" y="1563688"/>
            <a:ext cx="5039642" cy="230420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/>
                </a:solidFill>
              </a:defRPr>
            </a:lvl2pPr>
            <a:lvl3pPr marL="914378" indent="0" algn="ctr">
              <a:buNone/>
              <a:defRPr>
                <a:solidFill>
                  <a:schemeClr val="tx1"/>
                </a:solidFill>
              </a:defRPr>
            </a:lvl3pPr>
            <a:lvl4pPr marL="1371566" indent="0" algn="ctr">
              <a:buNone/>
              <a:defRPr>
                <a:solidFill>
                  <a:schemeClr val="tx1"/>
                </a:solidFill>
              </a:defRPr>
            </a:lvl4pPr>
            <a:lvl5pPr marL="1828754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76D0F8-1082-3E5F-55BC-D04F94DB42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27374"/>
            <a:ext cx="9144000" cy="7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304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0CA2B0-85BC-4059-9C86-5B487B8CFF5F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77872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9" r:id="rId3"/>
    <p:sldLayoutId id="2147483650" r:id="rId4"/>
    <p:sldLayoutId id="2147483655" r:id="rId5"/>
    <p:sldLayoutId id="2147483654" r:id="rId6"/>
    <p:sldLayoutId id="2147483657" r:id="rId7"/>
    <p:sldLayoutId id="2147483662" r:id="rId8"/>
    <p:sldLayoutId id="2147483663" r:id="rId9"/>
    <p:sldLayoutId id="2147483666" r:id="rId10"/>
    <p:sldLayoutId id="2147483660" r:id="rId11"/>
    <p:sldLayoutId id="2147483664" r:id="rId12"/>
    <p:sldLayoutId id="2147483665" r:id="rId13"/>
    <p:sldLayoutId id="2147483667" r:id="rId14"/>
    <p:sldLayoutId id="2147483668" r:id="rId15"/>
    <p:sldLayoutId id="2147483669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</p:sldLayoutIdLst>
  <p:hf hdr="0" ftr="0" dt="0"/>
  <p:txStyles>
    <p:titleStyle>
      <a:lvl1pPr algn="ctr" defTabSz="914378" rtl="0" eaLnBrk="1" latinLnBrk="0" hangingPunct="1">
        <a:spcBef>
          <a:spcPct val="0"/>
        </a:spcBef>
        <a:buNone/>
        <a:defRPr sz="4400" b="1" kern="1200">
          <a:solidFill>
            <a:srgbClr val="F34F2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customXml" Target="../ink/ink5.xml"/><Relationship Id="rId18" Type="http://schemas.openxmlformats.org/officeDocument/2006/relationships/customXml" Target="../ink/ink9.xml"/><Relationship Id="rId3" Type="http://schemas.openxmlformats.org/officeDocument/2006/relationships/image" Target="../media/image40.png"/><Relationship Id="rId21" Type="http://schemas.openxmlformats.org/officeDocument/2006/relationships/image" Target="../media/image48.png"/><Relationship Id="rId7" Type="http://schemas.openxmlformats.org/officeDocument/2006/relationships/customXml" Target="../ink/ink2.xml"/><Relationship Id="rId12" Type="http://schemas.openxmlformats.org/officeDocument/2006/relationships/image" Target="../media/image45.png"/><Relationship Id="rId17" Type="http://schemas.openxmlformats.org/officeDocument/2006/relationships/customXml" Target="../ink/ink8.xml"/><Relationship Id="rId2" Type="http://schemas.openxmlformats.org/officeDocument/2006/relationships/image" Target="../media/image18.png"/><Relationship Id="rId16" Type="http://schemas.openxmlformats.org/officeDocument/2006/relationships/customXml" Target="../ink/ink7.xml"/><Relationship Id="rId20" Type="http://schemas.openxmlformats.org/officeDocument/2006/relationships/customXml" Target="../ink/ink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11" Type="http://schemas.openxmlformats.org/officeDocument/2006/relationships/customXml" Target="../ink/ink4.xml"/><Relationship Id="rId5" Type="http://schemas.openxmlformats.org/officeDocument/2006/relationships/customXml" Target="../ink/ink1.xml"/><Relationship Id="rId15" Type="http://schemas.openxmlformats.org/officeDocument/2006/relationships/customXml" Target="../ink/ink6.xml"/><Relationship Id="rId23" Type="http://schemas.openxmlformats.org/officeDocument/2006/relationships/customXml" Target="../ink/ink12.xml"/><Relationship Id="rId10" Type="http://schemas.openxmlformats.org/officeDocument/2006/relationships/image" Target="../media/image44.png"/><Relationship Id="rId19" Type="http://schemas.openxmlformats.org/officeDocument/2006/relationships/image" Target="../media/image47.png"/><Relationship Id="rId4" Type="http://schemas.openxmlformats.org/officeDocument/2006/relationships/image" Target="../media/image41.jpeg"/><Relationship Id="rId9" Type="http://schemas.openxmlformats.org/officeDocument/2006/relationships/customXml" Target="../ink/ink3.xml"/><Relationship Id="rId14" Type="http://schemas.openxmlformats.org/officeDocument/2006/relationships/image" Target="../media/image46.png"/><Relationship Id="rId22" Type="http://schemas.openxmlformats.org/officeDocument/2006/relationships/customXml" Target="../ink/ink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o.com/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o.com/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1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5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9.png"/><Relationship Id="rId4" Type="http://schemas.openxmlformats.org/officeDocument/2006/relationships/image" Target="../media/image5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59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59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66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56.png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6" Type="http://schemas.openxmlformats.org/officeDocument/2006/relationships/image" Target="../media/image67.png"/><Relationship Id="rId5" Type="http://schemas.openxmlformats.org/officeDocument/2006/relationships/image" Target="../media/image58.png"/><Relationship Id="rId10" Type="http://schemas.openxmlformats.org/officeDocument/2006/relationships/image" Target="../media/image59.png"/><Relationship Id="rId4" Type="http://schemas.openxmlformats.org/officeDocument/2006/relationships/image" Target="../media/image57.png"/><Relationship Id="rId9" Type="http://schemas.microsoft.com/office/2007/relationships/hdphoto" Target="../media/hdphoto2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9.png"/><Relationship Id="rId4" Type="http://schemas.openxmlformats.org/officeDocument/2006/relationships/image" Target="../media/image5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o.com/" TargetMode="Externa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hyperlink" Target="http://www.slido.com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hyperlink" Target="http://www.slido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hyperlink" Target="mailto:paola.lepori@iclei.org" TargetMode="Externa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hyperlink" Target="http://www.slido.com/" TargetMode="Externa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55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o.com/" TargetMode="Externa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lanter with plants on the side&#10;&#10;Description automatically generated with medium confidence">
            <a:extLst>
              <a:ext uri="{FF2B5EF4-FFF2-40B4-BE49-F238E27FC236}">
                <a16:creationId xmlns:a16="http://schemas.microsoft.com/office/drawing/2014/main" id="{CB630ADA-0AE3-2BAE-983C-7B352606AB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8679" y="43715"/>
            <a:ext cx="8712827" cy="60641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EF36D91-58E0-66CF-B8DA-72B6738724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A1CB9BA0-3ADB-327D-65A2-11D295DDB7D7}"/>
              </a:ext>
            </a:extLst>
          </p:cNvPr>
          <p:cNvSpPr txBox="1">
            <a:spLocks/>
          </p:cNvSpPr>
          <p:nvPr/>
        </p:nvSpPr>
        <p:spPr>
          <a:xfrm>
            <a:off x="7452321" y="4465111"/>
            <a:ext cx="1572076" cy="50405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Brussels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</a:p>
          <a:p>
            <a:pPr marL="0" indent="0" algn="r"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15 October 2025</a:t>
            </a:r>
            <a:endParaRPr lang="nl-NL" sz="1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B45DC4F-61B6-84B8-0046-0C0F965FA466}"/>
              </a:ext>
            </a:extLst>
          </p:cNvPr>
          <p:cNvSpPr txBox="1">
            <a:spLocks/>
          </p:cNvSpPr>
          <p:nvPr/>
        </p:nvSpPr>
        <p:spPr>
          <a:xfrm>
            <a:off x="5508105" y="3268322"/>
            <a:ext cx="3522046" cy="8155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Ubuntu" panose="020B05040306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Marino Cavallo, </a:t>
            </a:r>
          </a:p>
          <a:p>
            <a:r>
              <a:rPr lang="en-US" sz="1400" b="0" dirty="0">
                <a:solidFill>
                  <a:schemeClr val="accent1">
                    <a:lumMod val="50000"/>
                  </a:schemeClr>
                </a:solidFill>
              </a:rPr>
              <a:t>Co-Coordinator</a:t>
            </a:r>
            <a:br>
              <a:rPr lang="en-US" sz="1400" b="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sz="1400" b="0" dirty="0">
                <a:solidFill>
                  <a:schemeClr val="accent1">
                    <a:lumMod val="50000"/>
                  </a:schemeClr>
                </a:solidFill>
              </a:rPr>
              <a:t>Greening Cities Partnership</a:t>
            </a:r>
          </a:p>
          <a:p>
            <a:endParaRPr lang="en-US" sz="1400" b="0" i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200" b="0" dirty="0">
                <a:solidFill>
                  <a:schemeClr val="accent1">
                    <a:lumMod val="50000"/>
                  </a:schemeClr>
                </a:solidFill>
              </a:rPr>
              <a:t>Metropolitan City of Bologna</a:t>
            </a:r>
          </a:p>
          <a:p>
            <a:r>
              <a:rPr lang="en-US" sz="1200" b="0" dirty="0">
                <a:solidFill>
                  <a:schemeClr val="accent1">
                    <a:lumMod val="50000"/>
                  </a:schemeClr>
                </a:solidFill>
              </a:rPr>
              <a:t>and NCI</a:t>
            </a:r>
            <a:endParaRPr lang="nl-NL" sz="1200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A746E48-867E-A381-E979-5DAB0E4FC46F}"/>
              </a:ext>
            </a:extLst>
          </p:cNvPr>
          <p:cNvSpPr/>
          <p:nvPr/>
        </p:nvSpPr>
        <p:spPr>
          <a:xfrm>
            <a:off x="6483075" y="202905"/>
            <a:ext cx="2469314" cy="13295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17" name="Εικόνα 7">
            <a:extLst>
              <a:ext uri="{FF2B5EF4-FFF2-40B4-BE49-F238E27FC236}">
                <a16:creationId xmlns:a16="http://schemas.microsoft.com/office/drawing/2014/main" id="{39E69CBE-18FE-7EE1-E721-ED29648A7F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339" y="225481"/>
            <a:ext cx="756900" cy="7569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761C367E-E9C5-4675-99B1-2B90AFE89BAE}"/>
              </a:ext>
            </a:extLst>
          </p:cNvPr>
          <p:cNvSpPr txBox="1">
            <a:spLocks/>
          </p:cNvSpPr>
          <p:nvPr/>
        </p:nvSpPr>
        <p:spPr>
          <a:xfrm>
            <a:off x="4499992" y="1329330"/>
            <a:ext cx="4530159" cy="738364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F34F2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2800" dirty="0">
                <a:latin typeface="Ubuntu"/>
                <a:cs typeface="Arial"/>
              </a:rPr>
              <a:t>How Much Nature Do </a:t>
            </a:r>
            <a:br>
              <a:rPr lang="en-US" sz="2800" dirty="0">
                <a:latin typeface="Ubuntu"/>
                <a:cs typeface="Arial"/>
              </a:rPr>
            </a:br>
            <a:r>
              <a:rPr lang="en-US" sz="2800" dirty="0">
                <a:latin typeface="Ubuntu"/>
                <a:cs typeface="Arial"/>
              </a:rPr>
              <a:t>We Need in our Cities?</a:t>
            </a:r>
          </a:p>
          <a:p>
            <a:pPr algn="r"/>
            <a:br>
              <a:rPr lang="en-US" sz="1600" b="0" dirty="0">
                <a:latin typeface="Ubuntu"/>
                <a:cs typeface="Arial"/>
              </a:rPr>
            </a:br>
            <a:br>
              <a:rPr lang="en-US" sz="2800" b="0" dirty="0">
                <a:latin typeface="Ubuntu" panose="020B0504030602030204" pitchFamily="34" charset="0"/>
              </a:rPr>
            </a:br>
            <a:endParaRPr lang="en-US" sz="1400" b="0" dirty="0">
              <a:latin typeface="Arial"/>
            </a:endParaRPr>
          </a:p>
          <a:p>
            <a:pPr algn="r"/>
            <a:endParaRPr lang="en-US" sz="2800" dirty="0">
              <a:latin typeface="Ubuntu" panose="020B0504030602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3CF24DD-3251-EC16-64A1-63C5EE6F5047}"/>
              </a:ext>
            </a:extLst>
          </p:cNvPr>
          <p:cNvSpPr txBox="1"/>
          <p:nvPr/>
        </p:nvSpPr>
        <p:spPr>
          <a:xfrm>
            <a:off x="3245094" y="2288163"/>
            <a:ext cx="570729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solidFill>
                  <a:srgbClr val="F34F24"/>
                </a:solidFill>
                <a:latin typeface="Ubuntu"/>
                <a:cs typeface="Arial"/>
              </a:rPr>
              <a:t>Turning Data into </a:t>
            </a:r>
          </a:p>
          <a:p>
            <a:pPr algn="r"/>
            <a:r>
              <a:rPr lang="en-US" sz="1400" dirty="0">
                <a:solidFill>
                  <a:srgbClr val="F34F24"/>
                </a:solidFill>
                <a:latin typeface="Ubuntu"/>
                <a:cs typeface="Arial"/>
              </a:rPr>
              <a:t>Urban Greening Action</a:t>
            </a:r>
            <a:endParaRPr lang="en-US" sz="1400" dirty="0">
              <a:solidFill>
                <a:srgbClr val="F34F24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0D47D98-39A8-0D4E-234D-9A4C2B947A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50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669102-045B-5494-68B3-FC06C3B64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1B15056-0FAD-CB09-4569-B59B0194C721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4" name="ZoneTexte 1">
            <a:extLst>
              <a:ext uri="{FF2B5EF4-FFF2-40B4-BE49-F238E27FC236}">
                <a16:creationId xmlns:a16="http://schemas.microsoft.com/office/drawing/2014/main" id="{711F5A91-30C5-05AC-73AB-0D04E8AB2F1E}"/>
              </a:ext>
            </a:extLst>
          </p:cNvPr>
          <p:cNvSpPr txBox="1"/>
          <p:nvPr/>
        </p:nvSpPr>
        <p:spPr>
          <a:xfrm>
            <a:off x="764778" y="1110308"/>
            <a:ext cx="7847661" cy="10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Reveal a first glimpse of the methodology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 for quantifying the demand for green infrastructure at local level that is being developed by the Greening Cities Partnership under the ESPON-GILL project;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8EAB13D-3B3E-B238-6583-442E0B46AC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7AD71D2-3450-838C-BC90-E8C570F14C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2356091"/>
            <a:ext cx="557657" cy="557657"/>
          </a:xfrm>
          <a:prstGeom prst="rect">
            <a:avLst/>
          </a:prstGeom>
        </p:spPr>
      </p:pic>
      <p:sp>
        <p:nvSpPr>
          <p:cNvPr id="23" name="ZoneTexte 1">
            <a:extLst>
              <a:ext uri="{FF2B5EF4-FFF2-40B4-BE49-F238E27FC236}">
                <a16:creationId xmlns:a16="http://schemas.microsoft.com/office/drawing/2014/main" id="{EB79A7BB-3A6C-5472-E104-BFE32E7B8988}"/>
              </a:ext>
            </a:extLst>
          </p:cNvPr>
          <p:cNvSpPr txBox="1"/>
          <p:nvPr/>
        </p:nvSpPr>
        <p:spPr>
          <a:xfrm>
            <a:off x="764778" y="2283718"/>
            <a:ext cx="7847661" cy="696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Highlight how this methodology sits within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broader EU policy framework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(NRR-Article 8, EU Biodiversity Strategy for 2030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5FA112-0115-D002-E3A9-413F9F87FC07}"/>
              </a:ext>
            </a:extLst>
          </p:cNvPr>
          <p:cNvSpPr txBox="1">
            <a:spLocks/>
          </p:cNvSpPr>
          <p:nvPr/>
        </p:nvSpPr>
        <p:spPr>
          <a:xfrm>
            <a:off x="389558" y="315166"/>
            <a:ext cx="7847661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 err="1">
                <a:latin typeface="Ubuntu" panose="020B0504030602030204" pitchFamily="34" charset="0"/>
              </a:rPr>
              <a:t>Why</a:t>
            </a:r>
            <a:r>
              <a:rPr lang="ro-RO" sz="2400" dirty="0">
                <a:latin typeface="Ubuntu" panose="020B0504030602030204" pitchFamily="34" charset="0"/>
              </a:rPr>
              <a:t> are </a:t>
            </a:r>
            <a:r>
              <a:rPr lang="ro-RO" sz="2400" dirty="0" err="1">
                <a:latin typeface="Ubuntu" panose="020B0504030602030204" pitchFamily="34" charset="0"/>
              </a:rPr>
              <a:t>we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here</a:t>
            </a:r>
            <a:r>
              <a:rPr lang="ro-RO" sz="2400" dirty="0">
                <a:latin typeface="Ubuntu" panose="020B0504030602030204" pitchFamily="34" charset="0"/>
              </a:rPr>
              <a:t>?</a:t>
            </a:r>
            <a:endParaRPr lang="en-GB" sz="24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0238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93245-FC96-70D9-68A0-438EBE280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FE017277-92D5-EAC3-A7B1-005DEBC37440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4" name="ZoneTexte 1">
            <a:extLst>
              <a:ext uri="{FF2B5EF4-FFF2-40B4-BE49-F238E27FC236}">
                <a16:creationId xmlns:a16="http://schemas.microsoft.com/office/drawing/2014/main" id="{3EC20776-E297-400C-939A-686CD1CFE698}"/>
              </a:ext>
            </a:extLst>
          </p:cNvPr>
          <p:cNvSpPr txBox="1"/>
          <p:nvPr/>
        </p:nvSpPr>
        <p:spPr>
          <a:xfrm>
            <a:off x="764778" y="1110308"/>
            <a:ext cx="7847661" cy="10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Reveal a first glimpse of the methodology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 for quantifying the demand for green infrastructure at local level that is being developed by the Greening Cities Partnership under the ESPON-GILL project;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D21B85-8DDF-C54E-2161-318567D463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A851DB1-6160-2BB3-8F23-303B06C809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42" y="3158755"/>
            <a:ext cx="701673" cy="701673"/>
          </a:xfrm>
          <a:prstGeom prst="rect">
            <a:avLst/>
          </a:prstGeom>
        </p:spPr>
      </p:pic>
      <p:sp>
        <p:nvSpPr>
          <p:cNvPr id="23" name="ZoneTexte 1">
            <a:extLst>
              <a:ext uri="{FF2B5EF4-FFF2-40B4-BE49-F238E27FC236}">
                <a16:creationId xmlns:a16="http://schemas.microsoft.com/office/drawing/2014/main" id="{3CDB9280-C5FB-CAEB-7561-BB0722A74523}"/>
              </a:ext>
            </a:extLst>
          </p:cNvPr>
          <p:cNvSpPr txBox="1"/>
          <p:nvPr/>
        </p:nvSpPr>
        <p:spPr>
          <a:xfrm>
            <a:off x="764778" y="2283718"/>
            <a:ext cx="7847661" cy="696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Highlight how this methodology sits within the </a:t>
            </a:r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broader EU policy framework 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(NRR-Article 8, EU Biodiversity Strategy for 2030)</a:t>
            </a:r>
          </a:p>
        </p:txBody>
      </p:sp>
      <p:sp>
        <p:nvSpPr>
          <p:cNvPr id="24" name="ZoneTexte 1">
            <a:extLst>
              <a:ext uri="{FF2B5EF4-FFF2-40B4-BE49-F238E27FC236}">
                <a16:creationId xmlns:a16="http://schemas.microsoft.com/office/drawing/2014/main" id="{C595BCD0-EA20-7F34-1A0F-69136A0A5704}"/>
              </a:ext>
            </a:extLst>
          </p:cNvPr>
          <p:cNvSpPr txBox="1"/>
          <p:nvPr/>
        </p:nvSpPr>
        <p:spPr>
          <a:xfrm>
            <a:off x="764779" y="3137851"/>
            <a:ext cx="7623646" cy="696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Learn from practice: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how cities can harness data to assess their need for green;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C74911-CF3E-15D6-95D0-B586C7121031}"/>
              </a:ext>
            </a:extLst>
          </p:cNvPr>
          <p:cNvSpPr txBox="1">
            <a:spLocks/>
          </p:cNvSpPr>
          <p:nvPr/>
        </p:nvSpPr>
        <p:spPr>
          <a:xfrm>
            <a:off x="389558" y="315166"/>
            <a:ext cx="7847661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 err="1">
                <a:latin typeface="Ubuntu" panose="020B0504030602030204" pitchFamily="34" charset="0"/>
              </a:rPr>
              <a:t>Why</a:t>
            </a:r>
            <a:r>
              <a:rPr lang="ro-RO" sz="2400" dirty="0">
                <a:latin typeface="Ubuntu" panose="020B0504030602030204" pitchFamily="34" charset="0"/>
              </a:rPr>
              <a:t> are </a:t>
            </a:r>
            <a:r>
              <a:rPr lang="ro-RO" sz="2400" dirty="0" err="1">
                <a:latin typeface="Ubuntu" panose="020B0504030602030204" pitchFamily="34" charset="0"/>
              </a:rPr>
              <a:t>we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here</a:t>
            </a:r>
            <a:r>
              <a:rPr lang="ro-RO" sz="2400" dirty="0">
                <a:latin typeface="Ubuntu" panose="020B0504030602030204" pitchFamily="34" charset="0"/>
              </a:rPr>
              <a:t>?</a:t>
            </a:r>
            <a:endParaRPr lang="en-GB" sz="24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5819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A7E31A-12CF-FB4F-C76C-CCAF3EFBF4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46EEA2E9-E009-5B11-5C45-0BBEC4F00AE9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4" name="ZoneTexte 1">
            <a:extLst>
              <a:ext uri="{FF2B5EF4-FFF2-40B4-BE49-F238E27FC236}">
                <a16:creationId xmlns:a16="http://schemas.microsoft.com/office/drawing/2014/main" id="{D917C31C-2987-30D3-C9DA-2757CF73E399}"/>
              </a:ext>
            </a:extLst>
          </p:cNvPr>
          <p:cNvSpPr txBox="1"/>
          <p:nvPr/>
        </p:nvSpPr>
        <p:spPr>
          <a:xfrm>
            <a:off x="764778" y="1110308"/>
            <a:ext cx="7847661" cy="10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Reveal a first glimpse of the methodology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 for quantifying the demand for green infrastructure at local level that is being developed by the Greening Cities Partnership under the ESPON-GILL project;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1BA9B2-972D-C9E4-ED6E-531A7F79BE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DC341E-F41A-7281-AEB3-F42C56A094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42" y="4066134"/>
            <a:ext cx="638200" cy="638200"/>
          </a:xfrm>
          <a:prstGeom prst="rect">
            <a:avLst/>
          </a:prstGeom>
        </p:spPr>
      </p:pic>
      <p:sp>
        <p:nvSpPr>
          <p:cNvPr id="23" name="ZoneTexte 1">
            <a:extLst>
              <a:ext uri="{FF2B5EF4-FFF2-40B4-BE49-F238E27FC236}">
                <a16:creationId xmlns:a16="http://schemas.microsoft.com/office/drawing/2014/main" id="{52727A33-E606-8FED-1F90-72C5A68EC06E}"/>
              </a:ext>
            </a:extLst>
          </p:cNvPr>
          <p:cNvSpPr txBox="1"/>
          <p:nvPr/>
        </p:nvSpPr>
        <p:spPr>
          <a:xfrm>
            <a:off x="764778" y="2283718"/>
            <a:ext cx="7847661" cy="696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Highlight how this methodology sits within the </a:t>
            </a:r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broader EU policy framework 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(NRR-Article 8, EU Biodiversity Strategy for 2030)</a:t>
            </a:r>
          </a:p>
        </p:txBody>
      </p:sp>
      <p:sp>
        <p:nvSpPr>
          <p:cNvPr id="24" name="ZoneTexte 1">
            <a:extLst>
              <a:ext uri="{FF2B5EF4-FFF2-40B4-BE49-F238E27FC236}">
                <a16:creationId xmlns:a16="http://schemas.microsoft.com/office/drawing/2014/main" id="{2C57E7C8-45C4-70EB-9334-96615745FBB8}"/>
              </a:ext>
            </a:extLst>
          </p:cNvPr>
          <p:cNvSpPr txBox="1"/>
          <p:nvPr/>
        </p:nvSpPr>
        <p:spPr>
          <a:xfrm>
            <a:off x="764779" y="3137851"/>
            <a:ext cx="7623646" cy="696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Learn from practice: 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Ubuntu" panose="020B0504030602030204" pitchFamily="34" charset="0"/>
              </a:rPr>
              <a:t>how cities can harness data to assess their need for green; </a:t>
            </a:r>
          </a:p>
        </p:txBody>
      </p:sp>
      <p:sp>
        <p:nvSpPr>
          <p:cNvPr id="25" name="ZoneTexte 1">
            <a:extLst>
              <a:ext uri="{FF2B5EF4-FFF2-40B4-BE49-F238E27FC236}">
                <a16:creationId xmlns:a16="http://schemas.microsoft.com/office/drawing/2014/main" id="{19873830-06AF-6585-4B76-9F24ECE45D11}"/>
              </a:ext>
            </a:extLst>
          </p:cNvPr>
          <p:cNvSpPr txBox="1"/>
          <p:nvPr/>
        </p:nvSpPr>
        <p:spPr>
          <a:xfrm>
            <a:off x="764779" y="4011910"/>
            <a:ext cx="7623646" cy="696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Exchange with participants of the workshop to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nform the methodology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774931-DBB5-6721-8F7A-F75F29BE6864}"/>
              </a:ext>
            </a:extLst>
          </p:cNvPr>
          <p:cNvSpPr txBox="1">
            <a:spLocks/>
          </p:cNvSpPr>
          <p:nvPr/>
        </p:nvSpPr>
        <p:spPr>
          <a:xfrm>
            <a:off x="389558" y="315166"/>
            <a:ext cx="7847661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 err="1">
                <a:latin typeface="Ubuntu" panose="020B0504030602030204" pitchFamily="34" charset="0"/>
              </a:rPr>
              <a:t>Why</a:t>
            </a:r>
            <a:r>
              <a:rPr lang="ro-RO" sz="2400" dirty="0">
                <a:latin typeface="Ubuntu" panose="020B0504030602030204" pitchFamily="34" charset="0"/>
              </a:rPr>
              <a:t> are </a:t>
            </a:r>
            <a:r>
              <a:rPr lang="ro-RO" sz="2400" dirty="0" err="1">
                <a:latin typeface="Ubuntu" panose="020B0504030602030204" pitchFamily="34" charset="0"/>
              </a:rPr>
              <a:t>we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here</a:t>
            </a:r>
            <a:r>
              <a:rPr lang="ro-RO" sz="2400" dirty="0">
                <a:latin typeface="Ubuntu" panose="020B0504030602030204" pitchFamily="34" charset="0"/>
              </a:rPr>
              <a:t>?</a:t>
            </a:r>
            <a:endParaRPr lang="en-GB" sz="24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242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0822C-AD14-AD30-F1AD-CF4022B2CC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78864C2B-1EDF-91E2-6283-E0981EA144D0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C13D189-EA72-E032-0C00-E1DE5976C1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CE6BF50-3ADD-1DB6-1F58-3996B2921D7F}"/>
              </a:ext>
            </a:extLst>
          </p:cNvPr>
          <p:cNvSpPr txBox="1"/>
          <p:nvPr/>
        </p:nvSpPr>
        <p:spPr>
          <a:xfrm>
            <a:off x="4436032" y="1553010"/>
            <a:ext cx="4050111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What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constitues green infrastructure at local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level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?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C3D7CF1-2034-CB7D-0D38-2271BB9D13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376" y="364396"/>
            <a:ext cx="938849" cy="938849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2DDD3D02-3BBB-B43B-AA05-DA50E030BD1D}"/>
              </a:ext>
            </a:extLst>
          </p:cNvPr>
          <p:cNvSpPr txBox="1">
            <a:spLocks/>
          </p:cNvSpPr>
          <p:nvPr/>
        </p:nvSpPr>
        <p:spPr>
          <a:xfrm>
            <a:off x="389558" y="315166"/>
            <a:ext cx="4553033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 err="1">
                <a:latin typeface="Ubuntu" panose="020B0504030602030204" pitchFamily="34" charset="0"/>
              </a:rPr>
              <a:t>Methodology</a:t>
            </a:r>
            <a:r>
              <a:rPr lang="ro-RO" sz="2400" dirty="0">
                <a:latin typeface="Ubuntu" panose="020B0504030602030204" pitchFamily="34" charset="0"/>
              </a:rPr>
              <a:t> for </a:t>
            </a:r>
            <a:r>
              <a:rPr lang="ro-RO" sz="2400" dirty="0" err="1">
                <a:latin typeface="Ubuntu" panose="020B0504030602030204" pitchFamily="34" charset="0"/>
              </a:rPr>
              <a:t>quantifying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the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demand</a:t>
            </a:r>
            <a:r>
              <a:rPr lang="ro-RO" sz="2400" dirty="0">
                <a:latin typeface="Ubuntu" panose="020B0504030602030204" pitchFamily="34" charset="0"/>
              </a:rPr>
              <a:t> for GI</a:t>
            </a:r>
            <a:endParaRPr lang="en-GB" sz="2400" dirty="0">
              <a:latin typeface="Ubuntu" panose="020B050403060203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5B8B500-6C98-4CD9-38D9-3541A770BCA7}"/>
              </a:ext>
            </a:extLst>
          </p:cNvPr>
          <p:cNvSpPr txBox="1"/>
          <p:nvPr/>
        </p:nvSpPr>
        <p:spPr>
          <a:xfrm>
            <a:off x="4436032" y="2322147"/>
            <a:ext cx="4050111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What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benefits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does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t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rovide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?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D1998F0-CE2D-09E0-D088-B5693C751CAF}"/>
              </a:ext>
            </a:extLst>
          </p:cNvPr>
          <p:cNvSpPr txBox="1"/>
          <p:nvPr/>
        </p:nvSpPr>
        <p:spPr>
          <a:xfrm>
            <a:off x="4419595" y="2868345"/>
            <a:ext cx="455303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How can the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current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and future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demand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be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ractically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evaluated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at local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level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?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905DF0-DCF5-779B-608E-741553AF0537}"/>
              </a:ext>
            </a:extLst>
          </p:cNvPr>
          <p:cNvSpPr txBox="1"/>
          <p:nvPr/>
        </p:nvSpPr>
        <p:spPr>
          <a:xfrm>
            <a:off x="4436032" y="3729130"/>
            <a:ext cx="455303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How can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we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better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nformed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planning and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nvestment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and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financial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decisions</a:t>
            </a:r>
            <a:r>
              <a:rPr lang="fr-FR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?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02D3642-EE48-CDB4-7489-6246094BE730}"/>
              </a:ext>
            </a:extLst>
          </p:cNvPr>
          <p:cNvGrpSpPr/>
          <p:nvPr/>
        </p:nvGrpSpPr>
        <p:grpSpPr>
          <a:xfrm>
            <a:off x="-136258" y="1122474"/>
            <a:ext cx="4492234" cy="4113571"/>
            <a:chOff x="317574" y="411510"/>
            <a:chExt cx="2924042" cy="2763337"/>
          </a:xfrm>
        </p:grpSpPr>
        <p:pic>
          <p:nvPicPr>
            <p:cNvPr id="38" name="Picture 37" descr="A diagram of a diagram&#10;&#10;Description automatically generated">
              <a:extLst>
                <a:ext uri="{FF2B5EF4-FFF2-40B4-BE49-F238E27FC236}">
                  <a16:creationId xmlns:a16="http://schemas.microsoft.com/office/drawing/2014/main" id="{2E79B9F8-799F-C2E4-B2F7-8AA4509AE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7312" t="17801" r="12680" b="54200"/>
            <a:stretch/>
          </p:blipFill>
          <p:spPr>
            <a:xfrm>
              <a:off x="323528" y="411510"/>
              <a:ext cx="2918088" cy="2592288"/>
            </a:xfrm>
            <a:prstGeom prst="rect">
              <a:avLst/>
            </a:prstGeom>
          </p:spPr>
        </p:pic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BB90A26-AE0C-8CDC-E529-7F8454C9FB4A}"/>
                </a:ext>
              </a:extLst>
            </p:cNvPr>
            <p:cNvGrpSpPr/>
            <p:nvPr/>
          </p:nvGrpSpPr>
          <p:grpSpPr>
            <a:xfrm>
              <a:off x="317574" y="1312567"/>
              <a:ext cx="1144080" cy="1862280"/>
              <a:chOff x="317574" y="1312567"/>
              <a:chExt cx="1144080" cy="186228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5">
                <p14:nvContentPartPr>
                  <p14:cNvPr id="40" name="Ink 39">
                    <a:extLst>
                      <a:ext uri="{FF2B5EF4-FFF2-40B4-BE49-F238E27FC236}">
                        <a16:creationId xmlns:a16="http://schemas.microsoft.com/office/drawing/2014/main" id="{46209ECA-CCB4-DCC3-ACFF-603EF8F5A72E}"/>
                      </a:ext>
                    </a:extLst>
                  </p14:cNvPr>
                  <p14:cNvContentPartPr/>
                  <p14:nvPr/>
                </p14:nvContentPartPr>
                <p14:xfrm>
                  <a:off x="371214" y="1598047"/>
                  <a:ext cx="1084680" cy="1576800"/>
                </p14:xfrm>
              </p:contentPart>
            </mc:Choice>
            <mc:Fallback xmlns="">
              <p:pic>
                <p:nvPicPr>
                  <p:cNvPr id="40" name="Ink 39">
                    <a:extLst>
                      <a:ext uri="{FF2B5EF4-FFF2-40B4-BE49-F238E27FC236}">
                        <a16:creationId xmlns:a16="http://schemas.microsoft.com/office/drawing/2014/main" id="{46209ECA-CCB4-DCC3-ACFF-603EF8F5A72E}"/>
                      </a:ext>
                    </a:extLst>
                  </p:cNvPr>
                  <p:cNvPicPr/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321314" y="1546546"/>
                    <a:ext cx="1184195" cy="167950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">
                <p14:nvContentPartPr>
                  <p14:cNvPr id="41" name="Ink 40">
                    <a:extLst>
                      <a:ext uri="{FF2B5EF4-FFF2-40B4-BE49-F238E27FC236}">
                        <a16:creationId xmlns:a16="http://schemas.microsoft.com/office/drawing/2014/main" id="{93FA0FEB-A11C-FDF7-67FD-24609567963D}"/>
                      </a:ext>
                    </a:extLst>
                  </p14:cNvPr>
                  <p14:cNvContentPartPr/>
                  <p14:nvPr/>
                </p14:nvContentPartPr>
                <p14:xfrm>
                  <a:off x="352854" y="1334887"/>
                  <a:ext cx="89640" cy="257760"/>
                </p14:xfrm>
              </p:contentPart>
            </mc:Choice>
            <mc:Fallback xmlns="">
              <p:pic>
                <p:nvPicPr>
                  <p:cNvPr id="41" name="Ink 40">
                    <a:extLst>
                      <a:ext uri="{FF2B5EF4-FFF2-40B4-BE49-F238E27FC236}">
                        <a16:creationId xmlns:a16="http://schemas.microsoft.com/office/drawing/2014/main" id="{93FA0FEB-A11C-FDF7-67FD-24609567963D}"/>
                      </a:ext>
                    </a:extLst>
                  </p:cNvPr>
                  <p:cNvPicPr/>
                  <p:nvPr/>
                </p:nvPicPr>
                <p:blipFill>
                  <a:blip r:embed="rId8"/>
                  <a:stretch>
                    <a:fillRect/>
                  </a:stretch>
                </p:blipFill>
                <p:spPr>
                  <a:xfrm>
                    <a:off x="302895" y="1283453"/>
                    <a:ext cx="189272" cy="36033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">
                <p14:nvContentPartPr>
                  <p14:cNvPr id="42" name="Ink 41">
                    <a:extLst>
                      <a:ext uri="{FF2B5EF4-FFF2-40B4-BE49-F238E27FC236}">
                        <a16:creationId xmlns:a16="http://schemas.microsoft.com/office/drawing/2014/main" id="{F36EC1CC-609C-8736-90F7-476745F4965E}"/>
                      </a:ext>
                    </a:extLst>
                  </p14:cNvPr>
                  <p14:cNvContentPartPr/>
                  <p14:nvPr/>
                </p14:nvContentPartPr>
                <p14:xfrm>
                  <a:off x="317574" y="1312567"/>
                  <a:ext cx="318600" cy="233280"/>
                </p14:xfrm>
              </p:contentPart>
            </mc:Choice>
            <mc:Fallback xmlns="">
              <p:pic>
                <p:nvPicPr>
                  <p:cNvPr id="42" name="Ink 41">
                    <a:extLst>
                      <a:ext uri="{FF2B5EF4-FFF2-40B4-BE49-F238E27FC236}">
                        <a16:creationId xmlns:a16="http://schemas.microsoft.com/office/drawing/2014/main" id="{F36EC1CC-609C-8736-90F7-476745F4965E}"/>
                      </a:ext>
                    </a:extLst>
                  </p:cNvPr>
                  <p:cNvPicPr/>
                  <p:nvPr/>
                </p:nvPicPr>
                <p:blipFill>
                  <a:blip r:embed="rId10"/>
                  <a:stretch>
                    <a:fillRect/>
                  </a:stretch>
                </p:blipFill>
                <p:spPr>
                  <a:xfrm>
                    <a:off x="267659" y="1261087"/>
                    <a:ext cx="418145" cy="33594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">
                <p14:nvContentPartPr>
                  <p14:cNvPr id="43" name="Ink 42">
                    <a:extLst>
                      <a:ext uri="{FF2B5EF4-FFF2-40B4-BE49-F238E27FC236}">
                        <a16:creationId xmlns:a16="http://schemas.microsoft.com/office/drawing/2014/main" id="{5A8A5E80-CEFD-F570-C811-570A990C9304}"/>
                      </a:ext>
                    </a:extLst>
                  </p14:cNvPr>
                  <p14:cNvContentPartPr/>
                  <p14:nvPr/>
                </p14:nvContentPartPr>
                <p14:xfrm>
                  <a:off x="1418094" y="2170964"/>
                  <a:ext cx="360" cy="360"/>
                </p14:xfrm>
              </p:contentPart>
            </mc:Choice>
            <mc:Fallback xmlns="">
              <p:pic>
                <p:nvPicPr>
                  <p:cNvPr id="43" name="Ink 42">
                    <a:extLst>
                      <a:ext uri="{FF2B5EF4-FFF2-40B4-BE49-F238E27FC236}">
                        <a16:creationId xmlns:a16="http://schemas.microsoft.com/office/drawing/2014/main" id="{5A8A5E80-CEFD-F570-C811-570A990C9304}"/>
                      </a:ext>
                    </a:extLst>
                  </p:cNvPr>
                  <p:cNvPicPr/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1355094" y="2107964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">
                <p14:nvContentPartPr>
                  <p14:cNvPr id="44" name="Ink 43">
                    <a:extLst>
                      <a:ext uri="{FF2B5EF4-FFF2-40B4-BE49-F238E27FC236}">
                        <a16:creationId xmlns:a16="http://schemas.microsoft.com/office/drawing/2014/main" id="{DAC6135F-74A5-8D45-2582-FA32B5BA007A}"/>
                      </a:ext>
                    </a:extLst>
                  </p14:cNvPr>
                  <p14:cNvContentPartPr/>
                  <p14:nvPr/>
                </p14:nvContentPartPr>
                <p14:xfrm>
                  <a:off x="1314414" y="2270324"/>
                  <a:ext cx="97560" cy="158040"/>
                </p14:xfrm>
              </p:contentPart>
            </mc:Choice>
            <mc:Fallback xmlns="">
              <p:pic>
                <p:nvPicPr>
                  <p:cNvPr id="44" name="Ink 43">
                    <a:extLst>
                      <a:ext uri="{FF2B5EF4-FFF2-40B4-BE49-F238E27FC236}">
                        <a16:creationId xmlns:a16="http://schemas.microsoft.com/office/drawing/2014/main" id="{DAC6135F-74A5-8D45-2582-FA32B5BA007A}"/>
                      </a:ext>
                    </a:extLst>
                  </p:cNvPr>
                  <p:cNvPicPr/>
                  <p:nvPr/>
                </p:nvPicPr>
                <p:blipFill>
                  <a:blip r:embed="rId14"/>
                  <a:stretch>
                    <a:fillRect/>
                  </a:stretch>
                </p:blipFill>
                <p:spPr>
                  <a:xfrm>
                    <a:off x="1264493" y="2218821"/>
                    <a:ext cx="197117" cy="2607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">
                <p14:nvContentPartPr>
                  <p14:cNvPr id="45" name="Ink 44">
                    <a:extLst>
                      <a:ext uri="{FF2B5EF4-FFF2-40B4-BE49-F238E27FC236}">
                        <a16:creationId xmlns:a16="http://schemas.microsoft.com/office/drawing/2014/main" id="{4EA54687-8192-8149-0B19-26D442CF12A4}"/>
                      </a:ext>
                    </a:extLst>
                  </p14:cNvPr>
                  <p14:cNvContentPartPr/>
                  <p14:nvPr/>
                </p14:nvContentPartPr>
                <p14:xfrm>
                  <a:off x="1461294" y="2145764"/>
                  <a:ext cx="360" cy="360"/>
                </p14:xfrm>
              </p:contentPart>
            </mc:Choice>
            <mc:Fallback xmlns="">
              <p:pic>
                <p:nvPicPr>
                  <p:cNvPr id="45" name="Ink 44">
                    <a:extLst>
                      <a:ext uri="{FF2B5EF4-FFF2-40B4-BE49-F238E27FC236}">
                        <a16:creationId xmlns:a16="http://schemas.microsoft.com/office/drawing/2014/main" id="{4EA54687-8192-8149-0B19-26D442CF12A4}"/>
                      </a:ext>
                    </a:extLst>
                  </p:cNvPr>
                  <p:cNvPicPr/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1398294" y="2082764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6">
                <p14:nvContentPartPr>
                  <p14:cNvPr id="46" name="Ink 45">
                    <a:extLst>
                      <a:ext uri="{FF2B5EF4-FFF2-40B4-BE49-F238E27FC236}">
                        <a16:creationId xmlns:a16="http://schemas.microsoft.com/office/drawing/2014/main" id="{C079D0DF-D0D7-61E6-D469-D740C6528500}"/>
                      </a:ext>
                    </a:extLst>
                  </p14:cNvPr>
                  <p14:cNvContentPartPr/>
                  <p14:nvPr/>
                </p14:nvContentPartPr>
                <p14:xfrm>
                  <a:off x="876654" y="1617284"/>
                  <a:ext cx="360" cy="360"/>
                </p14:xfrm>
              </p:contentPart>
            </mc:Choice>
            <mc:Fallback xmlns="">
              <p:pic>
                <p:nvPicPr>
                  <p:cNvPr id="46" name="Ink 45">
                    <a:extLst>
                      <a:ext uri="{FF2B5EF4-FFF2-40B4-BE49-F238E27FC236}">
                        <a16:creationId xmlns:a16="http://schemas.microsoft.com/office/drawing/2014/main" id="{C079D0DF-D0D7-61E6-D469-D740C6528500}"/>
                      </a:ext>
                    </a:extLst>
                  </p:cNvPr>
                  <p:cNvPicPr/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813654" y="1554284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7">
                <p14:nvContentPartPr>
                  <p14:cNvPr id="47" name="Ink 46">
                    <a:extLst>
                      <a:ext uri="{FF2B5EF4-FFF2-40B4-BE49-F238E27FC236}">
                        <a16:creationId xmlns:a16="http://schemas.microsoft.com/office/drawing/2014/main" id="{1416E1D7-4341-5C00-B9F1-37F1F7CF2892}"/>
                      </a:ext>
                    </a:extLst>
                  </p14:cNvPr>
                  <p14:cNvContentPartPr/>
                  <p14:nvPr/>
                </p14:nvContentPartPr>
                <p14:xfrm>
                  <a:off x="851814" y="1623044"/>
                  <a:ext cx="360" cy="360"/>
                </p14:xfrm>
              </p:contentPart>
            </mc:Choice>
            <mc:Fallback xmlns="">
              <p:pic>
                <p:nvPicPr>
                  <p:cNvPr id="47" name="Ink 46">
                    <a:extLst>
                      <a:ext uri="{FF2B5EF4-FFF2-40B4-BE49-F238E27FC236}">
                        <a16:creationId xmlns:a16="http://schemas.microsoft.com/office/drawing/2014/main" id="{1416E1D7-4341-5C00-B9F1-37F1F7CF2892}"/>
                      </a:ext>
                    </a:extLst>
                  </p:cNvPr>
                  <p:cNvPicPr/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788814" y="1560044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8">
                <p14:nvContentPartPr>
                  <p14:cNvPr id="48" name="Ink 47">
                    <a:extLst>
                      <a:ext uri="{FF2B5EF4-FFF2-40B4-BE49-F238E27FC236}">
                        <a16:creationId xmlns:a16="http://schemas.microsoft.com/office/drawing/2014/main" id="{30E57BA2-9545-C49D-1813-F1EC22081BC7}"/>
                      </a:ext>
                    </a:extLst>
                  </p14:cNvPr>
                  <p14:cNvContentPartPr/>
                  <p14:nvPr/>
                </p14:nvContentPartPr>
                <p14:xfrm>
                  <a:off x="813654" y="1617284"/>
                  <a:ext cx="7920" cy="360"/>
                </p14:xfrm>
              </p:contentPart>
            </mc:Choice>
            <mc:Fallback xmlns="">
              <p:pic>
                <p:nvPicPr>
                  <p:cNvPr id="48" name="Ink 47">
                    <a:extLst>
                      <a:ext uri="{FF2B5EF4-FFF2-40B4-BE49-F238E27FC236}">
                        <a16:creationId xmlns:a16="http://schemas.microsoft.com/office/drawing/2014/main" id="{30E57BA2-9545-C49D-1813-F1EC22081BC7}"/>
                      </a:ext>
                    </a:extLst>
                  </p:cNvPr>
                  <p:cNvPicPr/>
                  <p:nvPr/>
                </p:nvPicPr>
                <p:blipFill>
                  <a:blip r:embed="rId19"/>
                  <a:stretch>
                    <a:fillRect/>
                  </a:stretch>
                </p:blipFill>
                <p:spPr>
                  <a:xfrm>
                    <a:off x="762321" y="1554284"/>
                    <a:ext cx="110293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">
                <p14:nvContentPartPr>
                  <p14:cNvPr id="49" name="Ink 48">
                    <a:extLst>
                      <a:ext uri="{FF2B5EF4-FFF2-40B4-BE49-F238E27FC236}">
                        <a16:creationId xmlns:a16="http://schemas.microsoft.com/office/drawing/2014/main" id="{54D5E9E6-B4E1-2AA9-B435-589A483E3F69}"/>
                      </a:ext>
                    </a:extLst>
                  </p14:cNvPr>
                  <p14:cNvContentPartPr/>
                  <p14:nvPr/>
                </p14:nvContentPartPr>
                <p14:xfrm>
                  <a:off x="782334" y="1610804"/>
                  <a:ext cx="1440" cy="360"/>
                </p14:xfrm>
              </p:contentPart>
            </mc:Choice>
            <mc:Fallback xmlns="">
              <p:pic>
                <p:nvPicPr>
                  <p:cNvPr id="49" name="Ink 48">
                    <a:extLst>
                      <a:ext uri="{FF2B5EF4-FFF2-40B4-BE49-F238E27FC236}">
                        <a16:creationId xmlns:a16="http://schemas.microsoft.com/office/drawing/2014/main" id="{54D5E9E6-B4E1-2AA9-B435-589A483E3F69}"/>
                      </a:ext>
                    </a:extLst>
                  </p:cNvPr>
                  <p:cNvPicPr/>
                  <p:nvPr/>
                </p:nvPicPr>
                <p:blipFill>
                  <a:blip r:embed="rId21"/>
                  <a:stretch>
                    <a:fillRect/>
                  </a:stretch>
                </p:blipFill>
                <p:spPr>
                  <a:xfrm>
                    <a:off x="731934" y="1547804"/>
                    <a:ext cx="101952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2">
                <p14:nvContentPartPr>
                  <p14:cNvPr id="50" name="Ink 49">
                    <a:extLst>
                      <a:ext uri="{FF2B5EF4-FFF2-40B4-BE49-F238E27FC236}">
                        <a16:creationId xmlns:a16="http://schemas.microsoft.com/office/drawing/2014/main" id="{84585BCF-7B61-B07E-F9DA-548825684932}"/>
                      </a:ext>
                    </a:extLst>
                  </p14:cNvPr>
                  <p14:cNvContentPartPr/>
                  <p14:nvPr/>
                </p14:nvContentPartPr>
                <p14:xfrm>
                  <a:off x="752454" y="1592084"/>
                  <a:ext cx="360" cy="360"/>
                </p14:xfrm>
              </p:contentPart>
            </mc:Choice>
            <mc:Fallback xmlns="">
              <p:pic>
                <p:nvPicPr>
                  <p:cNvPr id="50" name="Ink 49">
                    <a:extLst>
                      <a:ext uri="{FF2B5EF4-FFF2-40B4-BE49-F238E27FC236}">
                        <a16:creationId xmlns:a16="http://schemas.microsoft.com/office/drawing/2014/main" id="{84585BCF-7B61-B07E-F9DA-548825684932}"/>
                      </a:ext>
                    </a:extLst>
                  </p:cNvPr>
                  <p:cNvPicPr/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689454" y="1529084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3">
                <p14:nvContentPartPr>
                  <p14:cNvPr id="51" name="Ink 50">
                    <a:extLst>
                      <a:ext uri="{FF2B5EF4-FFF2-40B4-BE49-F238E27FC236}">
                        <a16:creationId xmlns:a16="http://schemas.microsoft.com/office/drawing/2014/main" id="{16F57929-9C3E-621D-B181-C0AEAA8239D3}"/>
                      </a:ext>
                    </a:extLst>
                  </p14:cNvPr>
                  <p14:cNvContentPartPr/>
                  <p14:nvPr/>
                </p14:nvContentPartPr>
                <p14:xfrm>
                  <a:off x="752454" y="1592084"/>
                  <a:ext cx="360" cy="360"/>
                </p14:xfrm>
              </p:contentPart>
            </mc:Choice>
            <mc:Fallback xmlns="">
              <p:pic>
                <p:nvPicPr>
                  <p:cNvPr id="51" name="Ink 50">
                    <a:extLst>
                      <a:ext uri="{FF2B5EF4-FFF2-40B4-BE49-F238E27FC236}">
                        <a16:creationId xmlns:a16="http://schemas.microsoft.com/office/drawing/2014/main" id="{16F57929-9C3E-621D-B181-C0AEAA8239D3}"/>
                      </a:ext>
                    </a:extLst>
                  </p:cNvPr>
                  <p:cNvPicPr/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689454" y="1529084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16851931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1DF906-0D35-2B00-D3DA-A6543063E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AC06A016-557F-B4EB-84C4-F0632F81D94E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F2C23A-830F-D5AE-2B07-2DD17FCCAEB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B1B2F4-5D03-897B-B398-20362A829F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6629" y="1411589"/>
            <a:ext cx="6037372" cy="339602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22A2CAB7-0E37-313A-346E-8E7722B7C69B}"/>
              </a:ext>
            </a:extLst>
          </p:cNvPr>
          <p:cNvSpPr txBox="1"/>
          <p:nvPr/>
        </p:nvSpPr>
        <p:spPr>
          <a:xfrm>
            <a:off x="389558" y="1411589"/>
            <a:ext cx="3030313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t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rovides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an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evidence-based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and scalable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tool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for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cities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to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assess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their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green infrastructure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needs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A6B265A-54F0-0F66-E33A-C6AC47BC01D3}"/>
              </a:ext>
            </a:extLst>
          </p:cNvPr>
          <p:cNvSpPr txBox="1"/>
          <p:nvPr/>
        </p:nvSpPr>
        <p:spPr>
          <a:xfrm>
            <a:off x="389559" y="2928261"/>
            <a:ext cx="2814290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t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answers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the question: </a:t>
            </a:r>
            <a:r>
              <a:rPr lang="fr-FR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How can </a:t>
            </a:r>
            <a:r>
              <a:rPr lang="fr-FR" b="1" i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evidence</a:t>
            </a:r>
            <a:r>
              <a:rPr lang="fr-FR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guide action?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4E42F34-67E5-299A-D1E1-F796A65BE334}"/>
              </a:ext>
            </a:extLst>
          </p:cNvPr>
          <p:cNvSpPr txBox="1">
            <a:spLocks/>
          </p:cNvSpPr>
          <p:nvPr/>
        </p:nvSpPr>
        <p:spPr>
          <a:xfrm>
            <a:off x="389558" y="315166"/>
            <a:ext cx="4553033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 err="1">
                <a:latin typeface="Ubuntu" panose="020B0504030602030204" pitchFamily="34" charset="0"/>
              </a:rPr>
              <a:t>Methodology</a:t>
            </a:r>
            <a:r>
              <a:rPr lang="ro-RO" sz="2400" dirty="0">
                <a:latin typeface="Ubuntu" panose="020B0504030602030204" pitchFamily="34" charset="0"/>
              </a:rPr>
              <a:t> for </a:t>
            </a:r>
            <a:r>
              <a:rPr lang="ro-RO" sz="2400" dirty="0" err="1">
                <a:latin typeface="Ubuntu" panose="020B0504030602030204" pitchFamily="34" charset="0"/>
              </a:rPr>
              <a:t>quantifying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the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demand</a:t>
            </a:r>
            <a:r>
              <a:rPr lang="ro-RO" sz="2400" dirty="0">
                <a:latin typeface="Ubuntu" panose="020B0504030602030204" pitchFamily="34" charset="0"/>
              </a:rPr>
              <a:t> for GI</a:t>
            </a:r>
            <a:endParaRPr lang="en-GB" sz="24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9867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5230B-309A-649B-1209-205926FFE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BAC5C9E-7910-51EA-3F4C-E9EB036BB26C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0AC8F34-3177-4B44-DB14-CC012429F98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7" name="ZoneTexte 1">
            <a:extLst>
              <a:ext uri="{FF2B5EF4-FFF2-40B4-BE49-F238E27FC236}">
                <a16:creationId xmlns:a16="http://schemas.microsoft.com/office/drawing/2014/main" id="{327CCED2-F047-F73A-F376-BACEC1AE805A}"/>
              </a:ext>
            </a:extLst>
          </p:cNvPr>
          <p:cNvSpPr txBox="1"/>
          <p:nvPr/>
        </p:nvSpPr>
        <p:spPr>
          <a:xfrm>
            <a:off x="4499992" y="3447100"/>
            <a:ext cx="4320480" cy="1166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rgbClr val="4B7BBC"/>
                </a:solidFill>
                <a:latin typeface="Ubuntu" panose="020B0504030602030204" pitchFamily="34" charset="0"/>
                <a:hlinkClick r:id="rId3"/>
              </a:rPr>
              <a:t>www.slido.com</a:t>
            </a:r>
            <a:endParaRPr lang="en-US" sz="3200" b="1" dirty="0">
              <a:solidFill>
                <a:srgbClr val="4B7BBC"/>
              </a:solidFill>
              <a:latin typeface="Ubuntu" panose="020B0504030602030204" pitchFamily="34" charset="0"/>
            </a:endParaRPr>
          </a:p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#greening</a:t>
            </a:r>
            <a:endParaRPr lang="en-US" sz="3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2076EB-3A28-7FFA-3771-EE03A1E1723C}"/>
              </a:ext>
            </a:extLst>
          </p:cNvPr>
          <p:cNvSpPr/>
          <p:nvPr/>
        </p:nvSpPr>
        <p:spPr>
          <a:xfrm>
            <a:off x="5177901" y="1220096"/>
            <a:ext cx="2373856" cy="689936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34" name="Flowchart: Delay 7">
            <a:extLst>
              <a:ext uri="{FF2B5EF4-FFF2-40B4-BE49-F238E27FC236}">
                <a16:creationId xmlns:a16="http://schemas.microsoft.com/office/drawing/2014/main" id="{CC41E6ED-E670-E736-9186-C71EE3F1A58B}"/>
              </a:ext>
            </a:extLst>
          </p:cNvPr>
          <p:cNvSpPr/>
          <p:nvPr/>
        </p:nvSpPr>
        <p:spPr>
          <a:xfrm>
            <a:off x="7513065" y="1220096"/>
            <a:ext cx="537494" cy="689936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35" name="Flowchart: Delay 7">
            <a:extLst>
              <a:ext uri="{FF2B5EF4-FFF2-40B4-BE49-F238E27FC236}">
                <a16:creationId xmlns:a16="http://schemas.microsoft.com/office/drawing/2014/main" id="{C7A6EC9A-7624-0BFD-9A8B-9EF3F26CE06C}"/>
              </a:ext>
            </a:extLst>
          </p:cNvPr>
          <p:cNvSpPr/>
          <p:nvPr/>
        </p:nvSpPr>
        <p:spPr>
          <a:xfrm flipH="1">
            <a:off x="4663593" y="1220096"/>
            <a:ext cx="514308" cy="689936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89BDDDA-ACCC-DE81-89AA-8AAD176644D7}"/>
              </a:ext>
            </a:extLst>
          </p:cNvPr>
          <p:cNvSpPr>
            <a:spLocks noGrp="1"/>
          </p:cNvSpPr>
          <p:nvPr/>
        </p:nvSpPr>
        <p:spPr>
          <a:xfrm>
            <a:off x="4920747" y="1162448"/>
            <a:ext cx="3079531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dirty="0">
                <a:solidFill>
                  <a:schemeClr val="bg1"/>
                </a:solidFill>
                <a:latin typeface="Ubuntu" panose="020B0504030602030204" pitchFamily="34" charset="0"/>
              </a:rPr>
              <a:t>Join us on </a:t>
            </a:r>
            <a:r>
              <a:rPr lang="en-GB" sz="32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endParaRPr lang="en-GB" sz="3200" dirty="0">
              <a:solidFill>
                <a:schemeClr val="bg1"/>
              </a:solidFill>
              <a:latin typeface="Ubuntu" panose="020B0504030602030204" pitchFamily="34" charset="0"/>
            </a:endParaRPr>
          </a:p>
        </p:txBody>
      </p:sp>
      <p:pic>
        <p:nvPicPr>
          <p:cNvPr id="36" name="Graphic 35" descr="Line arrow: Counter-clockwise curve with solid fill">
            <a:extLst>
              <a:ext uri="{FF2B5EF4-FFF2-40B4-BE49-F238E27FC236}">
                <a16:creationId xmlns:a16="http://schemas.microsoft.com/office/drawing/2014/main" id="{E3603F96-08B3-F157-6A1B-D5A8C57B95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993317" flipV="1">
            <a:off x="4470383" y="2042417"/>
            <a:ext cx="1244970" cy="9256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231ABF-C395-0ABF-06F3-D7DD9C43B3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089" y="1347614"/>
            <a:ext cx="3265831" cy="3265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43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704B60-6E19-83F7-4247-CE8F98A635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48E452-CEF3-E08E-D0E9-07193174D819}"/>
              </a:ext>
            </a:extLst>
          </p:cNvPr>
          <p:cNvSpPr/>
          <p:nvPr/>
        </p:nvSpPr>
        <p:spPr>
          <a:xfrm>
            <a:off x="897921" y="287505"/>
            <a:ext cx="2373856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4" name="Flowchart: Delay 7">
            <a:extLst>
              <a:ext uri="{FF2B5EF4-FFF2-40B4-BE49-F238E27FC236}">
                <a16:creationId xmlns:a16="http://schemas.microsoft.com/office/drawing/2014/main" id="{CEC4912B-EF2A-8A85-F33B-524040AFD492}"/>
              </a:ext>
            </a:extLst>
          </p:cNvPr>
          <p:cNvSpPr/>
          <p:nvPr/>
        </p:nvSpPr>
        <p:spPr>
          <a:xfrm>
            <a:off x="3233085" y="287505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pic>
        <p:nvPicPr>
          <p:cNvPr id="5" name="Picture 4" descr="A screenshot of a phone&#10;&#10;AI-generated content may be incorrect.">
            <a:extLst>
              <a:ext uri="{FF2B5EF4-FFF2-40B4-BE49-F238E27FC236}">
                <a16:creationId xmlns:a16="http://schemas.microsoft.com/office/drawing/2014/main" id="{03A79C98-E9A2-12E2-0DC0-ADF0B4402B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763" y="27393"/>
            <a:ext cx="2830447" cy="5143500"/>
          </a:xfrm>
          <a:prstGeom prst="rect">
            <a:avLst/>
          </a:prstGeom>
        </p:spPr>
      </p:pic>
      <p:sp>
        <p:nvSpPr>
          <p:cNvPr id="9" name="Flowchart: Delay 7">
            <a:extLst>
              <a:ext uri="{FF2B5EF4-FFF2-40B4-BE49-F238E27FC236}">
                <a16:creationId xmlns:a16="http://schemas.microsoft.com/office/drawing/2014/main" id="{FCC11F59-4481-927E-0443-B33A7F50F087}"/>
              </a:ext>
            </a:extLst>
          </p:cNvPr>
          <p:cNvSpPr/>
          <p:nvPr/>
        </p:nvSpPr>
        <p:spPr>
          <a:xfrm flipH="1">
            <a:off x="383613" y="287505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700AF06-73ED-FE26-84BD-5CD3B6AEA8AE}"/>
              </a:ext>
            </a:extLst>
          </p:cNvPr>
          <p:cNvSpPr>
            <a:spLocks noGrp="1"/>
          </p:cNvSpPr>
          <p:nvPr/>
        </p:nvSpPr>
        <p:spPr>
          <a:xfrm>
            <a:off x="984897" y="210415"/>
            <a:ext cx="2379211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3000" dirty="0">
                <a:solidFill>
                  <a:schemeClr val="bg1"/>
                </a:solidFill>
                <a:latin typeface="Ubuntu" panose="020B0504030602030204" pitchFamily="34" charset="0"/>
              </a:rPr>
              <a:t> guid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2D480E-1217-77FC-6C40-5E904B1424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AEBB236-8878-ECCD-88A5-3FC61E96B895}"/>
              </a:ext>
            </a:extLst>
          </p:cNvPr>
          <p:cNvSpPr/>
          <p:nvPr/>
        </p:nvSpPr>
        <p:spPr>
          <a:xfrm>
            <a:off x="5350166" y="267381"/>
            <a:ext cx="1166050" cy="288145"/>
          </a:xfrm>
          <a:prstGeom prst="rect">
            <a:avLst/>
          </a:prstGeom>
          <a:solidFill>
            <a:srgbClr val="2367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F524A-D8C2-B713-57A7-8F07598B3B78}"/>
              </a:ext>
            </a:extLst>
          </p:cNvPr>
          <p:cNvSpPr/>
          <p:nvPr/>
        </p:nvSpPr>
        <p:spPr>
          <a:xfrm>
            <a:off x="6516215" y="4299942"/>
            <a:ext cx="576065" cy="576064"/>
          </a:xfrm>
          <a:prstGeom prst="rect">
            <a:avLst/>
          </a:prstGeom>
          <a:solidFill>
            <a:srgbClr val="E5EE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F336D5-1B47-BCA9-15A9-5600D9E7D0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089" y="1347614"/>
            <a:ext cx="3265831" cy="3265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1548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5019F-4EA6-C80D-661B-B9CE06D27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85BC01-BE93-02DF-93FC-878C9BDF0A81}"/>
              </a:ext>
            </a:extLst>
          </p:cNvPr>
          <p:cNvSpPr/>
          <p:nvPr/>
        </p:nvSpPr>
        <p:spPr>
          <a:xfrm>
            <a:off x="897921" y="287505"/>
            <a:ext cx="2373856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4" name="Flowchart: Delay 7">
            <a:extLst>
              <a:ext uri="{FF2B5EF4-FFF2-40B4-BE49-F238E27FC236}">
                <a16:creationId xmlns:a16="http://schemas.microsoft.com/office/drawing/2014/main" id="{8CEF88D8-3010-ECB1-23ED-9F8707F408EA}"/>
              </a:ext>
            </a:extLst>
          </p:cNvPr>
          <p:cNvSpPr/>
          <p:nvPr/>
        </p:nvSpPr>
        <p:spPr>
          <a:xfrm>
            <a:off x="3233085" y="287505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pic>
        <p:nvPicPr>
          <p:cNvPr id="5" name="Picture 4" descr="A screenshot of a phone&#10;&#10;AI-generated content may be incorrect.">
            <a:extLst>
              <a:ext uri="{FF2B5EF4-FFF2-40B4-BE49-F238E27FC236}">
                <a16:creationId xmlns:a16="http://schemas.microsoft.com/office/drawing/2014/main" id="{77D73F4A-D9B0-30DA-C172-2128F75545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763" y="27393"/>
            <a:ext cx="2830447" cy="51435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DF7E0E7B-93B9-16EA-EAD2-06EB00DB815D}"/>
              </a:ext>
            </a:extLst>
          </p:cNvPr>
          <p:cNvSpPr/>
          <p:nvPr/>
        </p:nvSpPr>
        <p:spPr>
          <a:xfrm>
            <a:off x="6136947" y="591203"/>
            <a:ext cx="758537" cy="296631"/>
          </a:xfrm>
          <a:prstGeom prst="ellipse">
            <a:avLst/>
          </a:prstGeom>
          <a:noFill/>
          <a:ln w="57150">
            <a:solidFill>
              <a:srgbClr val="AF51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sz="1013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CC529D9-1BD7-327F-5A2A-5A88DCBC8469}"/>
              </a:ext>
            </a:extLst>
          </p:cNvPr>
          <p:cNvCxnSpPr>
            <a:cxnSpLocks/>
          </p:cNvCxnSpPr>
          <p:nvPr/>
        </p:nvCxnSpPr>
        <p:spPr>
          <a:xfrm flipH="1">
            <a:off x="5612296" y="915566"/>
            <a:ext cx="903919" cy="2592288"/>
          </a:xfrm>
          <a:prstGeom prst="straightConnector1">
            <a:avLst/>
          </a:prstGeom>
          <a:ln w="57150">
            <a:solidFill>
              <a:srgbClr val="AF51F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Flowchart: Delay 7">
            <a:extLst>
              <a:ext uri="{FF2B5EF4-FFF2-40B4-BE49-F238E27FC236}">
                <a16:creationId xmlns:a16="http://schemas.microsoft.com/office/drawing/2014/main" id="{59EC0766-D899-0583-ADE8-92BC2B227931}"/>
              </a:ext>
            </a:extLst>
          </p:cNvPr>
          <p:cNvSpPr/>
          <p:nvPr/>
        </p:nvSpPr>
        <p:spPr>
          <a:xfrm flipH="1">
            <a:off x="383613" y="287505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80E0E6-EA7C-EC4A-ECDF-9B5E70589030}"/>
              </a:ext>
            </a:extLst>
          </p:cNvPr>
          <p:cNvSpPr txBox="1"/>
          <p:nvPr/>
        </p:nvSpPr>
        <p:spPr>
          <a:xfrm>
            <a:off x="7236296" y="2027044"/>
            <a:ext cx="303031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Answer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olls</a:t>
            </a:r>
            <a:endParaRPr lang="fr-FR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AAA9F5-3942-6D8C-A0D5-E08AAD07A546}"/>
              </a:ext>
            </a:extLst>
          </p:cNvPr>
          <p:cNvSpPr>
            <a:spLocks noGrp="1"/>
          </p:cNvSpPr>
          <p:nvPr/>
        </p:nvSpPr>
        <p:spPr>
          <a:xfrm>
            <a:off x="984897" y="210415"/>
            <a:ext cx="2379211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3000" dirty="0">
                <a:solidFill>
                  <a:schemeClr val="bg1"/>
                </a:solidFill>
                <a:latin typeface="Ubuntu" panose="020B0504030602030204" pitchFamily="34" charset="0"/>
              </a:rPr>
              <a:t> guid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9D93A8-7DF5-5D5F-9030-8E4EEC5EB2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849CA82-FFEE-E81F-CED0-640B8182B7A1}"/>
              </a:ext>
            </a:extLst>
          </p:cNvPr>
          <p:cNvSpPr/>
          <p:nvPr/>
        </p:nvSpPr>
        <p:spPr>
          <a:xfrm>
            <a:off x="5350166" y="267381"/>
            <a:ext cx="1166050" cy="288145"/>
          </a:xfrm>
          <a:prstGeom prst="rect">
            <a:avLst/>
          </a:prstGeom>
          <a:solidFill>
            <a:srgbClr val="2367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913CA0-3CAC-1DBB-E704-EC61F334A1A3}"/>
              </a:ext>
            </a:extLst>
          </p:cNvPr>
          <p:cNvSpPr txBox="1"/>
          <p:nvPr/>
        </p:nvSpPr>
        <p:spPr>
          <a:xfrm>
            <a:off x="5234273" y="3491830"/>
            <a:ext cx="9039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Vote!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F3370D-7008-61BC-E37C-0C75B1539B80}"/>
              </a:ext>
            </a:extLst>
          </p:cNvPr>
          <p:cNvSpPr/>
          <p:nvPr/>
        </p:nvSpPr>
        <p:spPr>
          <a:xfrm>
            <a:off x="6516215" y="4299942"/>
            <a:ext cx="576065" cy="576064"/>
          </a:xfrm>
          <a:prstGeom prst="rect">
            <a:avLst/>
          </a:prstGeom>
          <a:solidFill>
            <a:srgbClr val="E5EE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4DFF1F4-F502-8BB7-97A8-6D8C52920F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089" y="1347614"/>
            <a:ext cx="3265831" cy="3265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1765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FF2569-BCAD-7619-4D36-FA60054F70DB}"/>
              </a:ext>
            </a:extLst>
          </p:cNvPr>
          <p:cNvSpPr/>
          <p:nvPr/>
        </p:nvSpPr>
        <p:spPr>
          <a:xfrm>
            <a:off x="897921" y="287505"/>
            <a:ext cx="2373856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4" name="Flowchart: Delay 7">
            <a:extLst>
              <a:ext uri="{FF2B5EF4-FFF2-40B4-BE49-F238E27FC236}">
                <a16:creationId xmlns:a16="http://schemas.microsoft.com/office/drawing/2014/main" id="{ACBE3CAF-4CF3-CBCD-0C9F-C754967A833A}"/>
              </a:ext>
            </a:extLst>
          </p:cNvPr>
          <p:cNvSpPr/>
          <p:nvPr/>
        </p:nvSpPr>
        <p:spPr>
          <a:xfrm>
            <a:off x="3233085" y="287505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pic>
        <p:nvPicPr>
          <p:cNvPr id="5" name="Picture 4" descr="A screenshot of a phone&#10;&#10;AI-generated content may be incorrect.">
            <a:extLst>
              <a:ext uri="{FF2B5EF4-FFF2-40B4-BE49-F238E27FC236}">
                <a16:creationId xmlns:a16="http://schemas.microsoft.com/office/drawing/2014/main" id="{EC26B656-D51D-CEC1-2E36-7D8FD712C3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763" y="27393"/>
            <a:ext cx="2830447" cy="51435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81CBCFD4-2409-DEA7-CF1F-7F16802D0BE6}"/>
              </a:ext>
            </a:extLst>
          </p:cNvPr>
          <p:cNvSpPr/>
          <p:nvPr/>
        </p:nvSpPr>
        <p:spPr>
          <a:xfrm>
            <a:off x="4970898" y="591203"/>
            <a:ext cx="758537" cy="296631"/>
          </a:xfrm>
          <a:prstGeom prst="ellipse">
            <a:avLst/>
          </a:prstGeom>
          <a:noFill/>
          <a:ln w="57150">
            <a:solidFill>
              <a:srgbClr val="AF51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sz="1013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B6A20CF-DA19-65EF-97EC-3AE12977417C}"/>
              </a:ext>
            </a:extLst>
          </p:cNvPr>
          <p:cNvCxnSpPr/>
          <p:nvPr/>
        </p:nvCxnSpPr>
        <p:spPr>
          <a:xfrm>
            <a:off x="5350166" y="887835"/>
            <a:ext cx="1338449" cy="3550816"/>
          </a:xfrm>
          <a:prstGeom prst="straightConnector1">
            <a:avLst/>
          </a:prstGeom>
          <a:ln w="57150">
            <a:solidFill>
              <a:srgbClr val="AF51F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Flowchart: Delay 7">
            <a:extLst>
              <a:ext uri="{FF2B5EF4-FFF2-40B4-BE49-F238E27FC236}">
                <a16:creationId xmlns:a16="http://schemas.microsoft.com/office/drawing/2014/main" id="{A99BA6DF-AAD5-CD30-F880-E297B264200A}"/>
              </a:ext>
            </a:extLst>
          </p:cNvPr>
          <p:cNvSpPr/>
          <p:nvPr/>
        </p:nvSpPr>
        <p:spPr>
          <a:xfrm flipH="1">
            <a:off x="383613" y="287505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C02A27D-05C4-EF11-4ADF-BD5EE39A522C}"/>
              </a:ext>
            </a:extLst>
          </p:cNvPr>
          <p:cNvSpPr>
            <a:spLocks noGrp="1"/>
          </p:cNvSpPr>
          <p:nvPr/>
        </p:nvSpPr>
        <p:spPr>
          <a:xfrm>
            <a:off x="984897" y="210415"/>
            <a:ext cx="2379211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3000" dirty="0">
                <a:solidFill>
                  <a:schemeClr val="bg1"/>
                </a:solidFill>
                <a:latin typeface="Ubuntu" panose="020B0504030602030204" pitchFamily="34" charset="0"/>
              </a:rPr>
              <a:t> guid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A0E85B-64E6-8323-35D1-5B4A0F5929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62AE894-9688-E0AC-E454-E2160A9AC2B6}"/>
              </a:ext>
            </a:extLst>
          </p:cNvPr>
          <p:cNvSpPr/>
          <p:nvPr/>
        </p:nvSpPr>
        <p:spPr>
          <a:xfrm>
            <a:off x="5350166" y="267381"/>
            <a:ext cx="1166050" cy="288145"/>
          </a:xfrm>
          <a:prstGeom prst="rect">
            <a:avLst/>
          </a:prstGeom>
          <a:solidFill>
            <a:srgbClr val="2367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A41566-D134-6D61-25CB-74E2A8607C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089" y="1347614"/>
            <a:ext cx="3265831" cy="326583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9898EDE-43E8-AC30-ABF4-35232021C2F2}"/>
              </a:ext>
            </a:extLst>
          </p:cNvPr>
          <p:cNvSpPr txBox="1"/>
          <p:nvPr/>
        </p:nvSpPr>
        <p:spPr>
          <a:xfrm>
            <a:off x="7236297" y="2027044"/>
            <a:ext cx="2016224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Answer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olls</a:t>
            </a:r>
            <a:endParaRPr lang="fr-FR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  <a:p>
            <a:pPr marL="342900" indent="-342900">
              <a:buAutoNum type="arabicPeriod"/>
            </a:pP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Leave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fr-FR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your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questions</a:t>
            </a:r>
          </a:p>
        </p:txBody>
      </p:sp>
    </p:spTree>
    <p:extLst>
      <p:ext uri="{BB962C8B-B14F-4D97-AF65-F5344CB8AC3E}">
        <p14:creationId xmlns:p14="http://schemas.microsoft.com/office/powerpoint/2010/main" val="3810676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A0F134-7F2A-4E6D-D514-89845B3A953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6016" y="1696400"/>
            <a:ext cx="4248472" cy="1317021"/>
          </a:xfrm>
          <a:prstGeom prst="rect">
            <a:avLst/>
          </a:prstGeom>
          <a:noFill/>
          <a:ln w="25400" cap="flat" cmpd="sng" algn="ctr">
            <a:solidFill>
              <a:srgbClr val="FFFFFF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F34F24"/>
                </a:solidFill>
                <a:latin typeface="Ubuntu" panose="020B0504030602030204" pitchFamily="34" charset="0"/>
              </a:rPr>
              <a:t>What is your city’s biggest challenge when assessing the need for green infrastructure?</a:t>
            </a:r>
          </a:p>
        </p:txBody>
      </p:sp>
      <p:sp>
        <p:nvSpPr>
          <p:cNvPr id="6" name="ZoneTexte 1">
            <a:extLst>
              <a:ext uri="{FF2B5EF4-FFF2-40B4-BE49-F238E27FC236}">
                <a16:creationId xmlns:a16="http://schemas.microsoft.com/office/drawing/2014/main" id="{EEAC60E2-14A9-DC74-6984-DCAE770E7591}"/>
              </a:ext>
            </a:extLst>
          </p:cNvPr>
          <p:cNvSpPr txBox="1"/>
          <p:nvPr/>
        </p:nvSpPr>
        <p:spPr>
          <a:xfrm>
            <a:off x="4499992" y="3447100"/>
            <a:ext cx="4320480" cy="1166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rgbClr val="4B7BBC"/>
                </a:solidFill>
                <a:latin typeface="Ubuntu" panose="020B0504030602030204" pitchFamily="34" charset="0"/>
                <a:hlinkClick r:id="rId3"/>
              </a:rPr>
              <a:t>www.slido.com</a:t>
            </a:r>
            <a:endParaRPr lang="en-US" sz="3200" b="1" dirty="0">
              <a:solidFill>
                <a:srgbClr val="4B7BBC"/>
              </a:solidFill>
              <a:latin typeface="Ubuntu" panose="020B0504030602030204" pitchFamily="34" charset="0"/>
            </a:endParaRPr>
          </a:p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#greening</a:t>
            </a:r>
            <a:endParaRPr lang="en-US" sz="3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3087D6-FDAA-5622-44BE-7D891A010D33}"/>
              </a:ext>
            </a:extLst>
          </p:cNvPr>
          <p:cNvSpPr/>
          <p:nvPr/>
        </p:nvSpPr>
        <p:spPr>
          <a:xfrm>
            <a:off x="5057932" y="754779"/>
            <a:ext cx="1842515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8" name="Flowchart: Delay 7">
            <a:extLst>
              <a:ext uri="{FF2B5EF4-FFF2-40B4-BE49-F238E27FC236}">
                <a16:creationId xmlns:a16="http://schemas.microsoft.com/office/drawing/2014/main" id="{F15B18D0-D53E-5C1E-3C80-C828DFDE42DD}"/>
              </a:ext>
            </a:extLst>
          </p:cNvPr>
          <p:cNvSpPr/>
          <p:nvPr/>
        </p:nvSpPr>
        <p:spPr>
          <a:xfrm>
            <a:off x="6866127" y="754779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9" name="Flowchart: Delay 7">
            <a:extLst>
              <a:ext uri="{FF2B5EF4-FFF2-40B4-BE49-F238E27FC236}">
                <a16:creationId xmlns:a16="http://schemas.microsoft.com/office/drawing/2014/main" id="{F74BA30C-84E2-F3BE-36B3-5CC762A0F92C}"/>
              </a:ext>
            </a:extLst>
          </p:cNvPr>
          <p:cNvSpPr/>
          <p:nvPr/>
        </p:nvSpPr>
        <p:spPr>
          <a:xfrm flipH="1">
            <a:off x="4697099" y="754779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59E0CB2-0B65-3720-D20E-2F3E688CABCD}"/>
              </a:ext>
            </a:extLst>
          </p:cNvPr>
          <p:cNvSpPr>
            <a:spLocks noGrp="1"/>
          </p:cNvSpPr>
          <p:nvPr/>
        </p:nvSpPr>
        <p:spPr>
          <a:xfrm>
            <a:off x="5004048" y="677689"/>
            <a:ext cx="2585985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2400" dirty="0">
                <a:solidFill>
                  <a:schemeClr val="bg1"/>
                </a:solidFill>
                <a:latin typeface="Ubuntu" panose="020B0504030602030204" pitchFamily="34" charset="0"/>
              </a:rPr>
              <a:t> poll #1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4FDF0A-3C06-C804-DF16-F8336ACA9B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4796C39-07D9-45DA-F5A9-7C3E877CAD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089" y="1347614"/>
            <a:ext cx="3265831" cy="3265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045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ABE3DFC-6A3B-8071-2718-94B75D190AC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6A024-8BBD-E3DA-43B5-248DAFBC82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5577" y="1851670"/>
            <a:ext cx="6609928" cy="2309862"/>
          </a:xfrm>
        </p:spPr>
        <p:txBody>
          <a:bodyPr>
            <a:normAutofit/>
          </a:bodyPr>
          <a:lstStyle/>
          <a:p>
            <a:pPr marL="571486" indent="-571486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an Informal </a:t>
            </a:r>
            <a:r>
              <a:rPr lang="en-GB" sz="2000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nter-</a:t>
            </a:r>
            <a:r>
              <a:rPr lang="en-GB" sz="20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governmental </a:t>
            </a:r>
            <a:r>
              <a:rPr lang="en-GB" sz="2000" b="1" dirty="0">
                <a:solidFill>
                  <a:srgbClr val="F34F24"/>
                </a:solidFill>
                <a:latin typeface="Ubuntu" panose="020B0504030602030204" pitchFamily="34" charset="0"/>
              </a:rPr>
              <a:t>Cooperation</a:t>
            </a:r>
            <a:endParaRPr lang="ro-RO" sz="2000" b="1" dirty="0">
              <a:latin typeface="Ubuntu" panose="020B0504030602030204" pitchFamily="34" charset="0"/>
            </a:endParaRPr>
          </a:p>
          <a:p>
            <a:pPr marL="571486" indent="-571486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new working method -</a:t>
            </a:r>
            <a:r>
              <a:rPr lang="en-GB" sz="2000" b="1" dirty="0">
                <a:solidFill>
                  <a:srgbClr val="1AA9B2"/>
                </a:solidFill>
                <a:latin typeface="Ubuntu" panose="020B0504030602030204" pitchFamily="34" charset="0"/>
              </a:rPr>
              <a:t> </a:t>
            </a:r>
            <a:r>
              <a:rPr lang="en-GB" sz="2000" b="1" dirty="0">
                <a:solidFill>
                  <a:srgbClr val="F34F24"/>
                </a:solidFill>
                <a:latin typeface="Ubuntu" panose="020B0504030602030204" pitchFamily="34" charset="0"/>
              </a:rPr>
              <a:t>multi-stakeholder &amp; multi-level cooperation </a:t>
            </a:r>
            <a:endParaRPr lang="ro-RO" sz="2000" b="1" dirty="0">
              <a:latin typeface="Ubuntu" panose="020B0504030602030204" pitchFamily="34" charset="0"/>
            </a:endParaRPr>
          </a:p>
          <a:p>
            <a:pPr marL="571486" indent="-571486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F34F24"/>
                </a:solidFill>
                <a:latin typeface="Ubuntu" panose="020B0504030602030204" pitchFamily="34" charset="0"/>
              </a:rPr>
              <a:t>cities </a:t>
            </a:r>
            <a:r>
              <a:rPr lang="en-GB" sz="2000" b="1" i="1" dirty="0">
                <a:solidFill>
                  <a:srgbClr val="F34F24"/>
                </a:solidFill>
                <a:latin typeface="Ubuntu" panose="020B0504030602030204" pitchFamily="34" charset="0"/>
              </a:rPr>
              <a:t>"at the core", </a:t>
            </a:r>
            <a:r>
              <a:rPr lang="en-GB" sz="20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Regions, Member states, European Institutions &amp; other stakeholders</a:t>
            </a:r>
            <a:endParaRPr lang="en-GB" sz="20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  <a:p>
            <a:pPr marL="457189" indent="-457189" algn="l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GB" sz="2000" dirty="0">
              <a:latin typeface="Ubuntu" panose="020B0504030602030204" pitchFamily="34" charset="0"/>
            </a:endParaRPr>
          </a:p>
          <a:p>
            <a:pPr marL="457189" indent="-457189" algn="l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GB" sz="2000" dirty="0">
              <a:latin typeface="Ubuntu" panose="020B0504030602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90782E1-1DAD-6168-44CC-83A6CCB07EC4}"/>
              </a:ext>
            </a:extLst>
          </p:cNvPr>
          <p:cNvSpPr txBox="1">
            <a:spLocks/>
          </p:cNvSpPr>
          <p:nvPr/>
        </p:nvSpPr>
        <p:spPr>
          <a:xfrm>
            <a:off x="1259633" y="555527"/>
            <a:ext cx="5328592" cy="11819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3200" dirty="0">
                <a:latin typeface="Ubuntu" panose="020B0504030602030204" pitchFamily="34" charset="0"/>
              </a:rPr>
              <a:t>The Urban Agenda </a:t>
            </a:r>
            <a:br>
              <a:rPr lang="ro-RO" sz="3200" dirty="0">
                <a:latin typeface="Ubuntu" panose="020B0504030602030204" pitchFamily="34" charset="0"/>
              </a:rPr>
            </a:br>
            <a:r>
              <a:rPr lang="ro-RO" sz="3200" dirty="0">
                <a:latin typeface="Ubuntu" panose="020B0504030602030204" pitchFamily="34" charset="0"/>
              </a:rPr>
              <a:t>for </a:t>
            </a:r>
            <a:r>
              <a:rPr lang="ro-RO" sz="3200" dirty="0" err="1">
                <a:latin typeface="Ubuntu" panose="020B0504030602030204" pitchFamily="34" charset="0"/>
              </a:rPr>
              <a:t>the</a:t>
            </a:r>
            <a:r>
              <a:rPr lang="ro-RO" sz="3200" dirty="0">
                <a:latin typeface="Ubuntu" panose="020B0504030602030204" pitchFamily="34" charset="0"/>
              </a:rPr>
              <a:t> EU</a:t>
            </a:r>
            <a:endParaRPr lang="nl-NL" sz="32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4803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E988-35C5-BE22-49EB-12C805622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7535A30-F505-72AE-32AC-97025950A0BE}"/>
              </a:ext>
            </a:extLst>
          </p:cNvPr>
          <p:cNvSpPr txBox="1">
            <a:spLocks/>
          </p:cNvSpPr>
          <p:nvPr/>
        </p:nvSpPr>
        <p:spPr>
          <a:xfrm>
            <a:off x="467544" y="438002"/>
            <a:ext cx="7847661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 err="1">
                <a:latin typeface="Ubuntu" panose="020B0504030602030204" pitchFamily="34" charset="0"/>
              </a:rPr>
              <a:t>Presentations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by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invited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speakers</a:t>
            </a:r>
            <a:endParaRPr lang="en-GB" sz="2400" dirty="0">
              <a:latin typeface="Ubuntu" panose="020B0504030602030204" pitchFamily="34" charset="0"/>
            </a:endParaRPr>
          </a:p>
        </p:txBody>
      </p:sp>
      <p:sp>
        <p:nvSpPr>
          <p:cNvPr id="8" name="ZoneTexte 1">
            <a:extLst>
              <a:ext uri="{FF2B5EF4-FFF2-40B4-BE49-F238E27FC236}">
                <a16:creationId xmlns:a16="http://schemas.microsoft.com/office/drawing/2014/main" id="{F48D9241-E863-6E11-1D62-E182E12BF5BD}"/>
              </a:ext>
            </a:extLst>
          </p:cNvPr>
          <p:cNvSpPr txBox="1"/>
          <p:nvPr/>
        </p:nvSpPr>
        <p:spPr>
          <a:xfrm>
            <a:off x="1043608" y="1419622"/>
            <a:ext cx="7847661" cy="2607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089" lvl="1" indent="-342900">
              <a:lnSpc>
                <a:spcPct val="115000"/>
              </a:lnSpc>
              <a:buAutoNum type="arabicPeriod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Yoann Clouet –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roject Manager at the </a:t>
            </a:r>
            <a:r>
              <a:rPr lang="en-US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nstitute for Urban Excellence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, expert at the ESPON GILL consortium.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endParaRPr lang="en-US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  <a:p>
            <a:pPr marL="800089" lvl="1" indent="-342900">
              <a:lnSpc>
                <a:spcPct val="115000"/>
              </a:lnSpc>
              <a:buAutoNum type="arabicPeriod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Bo </a:t>
            </a:r>
            <a:r>
              <a:rPr lang="en-US" b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Vanbesien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–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Greening Cities Partnership member,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r>
              <a:rPr lang="en-US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City of Roeselare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representative.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endParaRPr lang="en-US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  <a:p>
            <a:pPr marL="800089" lvl="1" indent="-342900">
              <a:lnSpc>
                <a:spcPct val="115000"/>
              </a:lnSpc>
              <a:buAutoNum type="arabicPeriod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aola Lepori –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Greening Cities Partnership member,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olicy Expert at 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the </a:t>
            </a:r>
            <a:r>
              <a:rPr lang="en-US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CLEI European Secretariat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D6AF92-493A-A3F2-3ACF-1147D4B3F6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58" y="1342068"/>
            <a:ext cx="687154" cy="6871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AF95F68-3632-F251-6464-9F75F4E61A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58" y="3363838"/>
            <a:ext cx="620266" cy="81613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645104-C62C-1742-1332-15DD8278C1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58" y="2307300"/>
            <a:ext cx="764282" cy="7642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68CDCD4-6963-B3B7-E7CF-4EF93F5EEBB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252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F13B7E82-30AE-4CEC-7E35-3666A171FF6A}"/>
              </a:ext>
            </a:extLst>
          </p:cNvPr>
          <p:cNvSpPr/>
          <p:nvPr/>
        </p:nvSpPr>
        <p:spPr>
          <a:xfrm>
            <a:off x="457202" y="4058753"/>
            <a:ext cx="8229599" cy="629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48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DE94790-F789-82F9-92B5-EFCA0CA1B9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799" y="4254652"/>
            <a:ext cx="1059019" cy="221475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253EF8A9-6F9B-A348-9E9D-5D275C0020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455" y="4096641"/>
            <a:ext cx="425596" cy="53749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EDD901D-B47A-15C7-C234-DC3256E634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60703" y="4152301"/>
            <a:ext cx="1133501" cy="426173"/>
          </a:xfrm>
          <a:prstGeom prst="rect">
            <a:avLst/>
          </a:prstGeom>
          <a:noFill/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AD3CF8D-6546-3CD3-DCA4-3E524EEB9742}"/>
              </a:ext>
            </a:extLst>
          </p:cNvPr>
          <p:cNvSpPr txBox="1">
            <a:spLocks/>
          </p:cNvSpPr>
          <p:nvPr/>
        </p:nvSpPr>
        <p:spPr>
          <a:xfrm>
            <a:off x="1186200" y="1399274"/>
            <a:ext cx="5988512" cy="1603800"/>
          </a:xfrm>
          <a:prstGeom prst="rect">
            <a:avLst/>
          </a:prstGeom>
          <a:noFill/>
        </p:spPr>
        <p:txBody>
          <a:bodyPr vert="horz" lIns="0" tIns="0" rIns="360000" bIns="72000" rtlCol="0" anchor="b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F179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ESPON-GILL</a:t>
            </a:r>
            <a:b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</a:br>
            <a:r>
              <a:rPr kumimoji="0" lang="en-GB" sz="216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Methodology for Quantifying the Demand for Green Infrastructure at Local Level</a:t>
            </a:r>
            <a:endParaRPr kumimoji="0" lang="en-HR" sz="2565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2C2968A-CCE9-F267-759B-82E69000E663}"/>
              </a:ext>
            </a:extLst>
          </p:cNvPr>
          <p:cNvSpPr txBox="1">
            <a:spLocks/>
          </p:cNvSpPr>
          <p:nvPr/>
        </p:nvSpPr>
        <p:spPr>
          <a:xfrm>
            <a:off x="1186200" y="3051675"/>
            <a:ext cx="5684998" cy="850500"/>
          </a:xfrm>
          <a:prstGeom prst="rect">
            <a:avLst/>
          </a:prstGeom>
          <a:noFill/>
        </p:spPr>
        <p:txBody>
          <a:bodyPr vert="horz" lIns="0" tIns="180000" rIns="0" bIns="180000" rtlCol="0" anchor="t" anchorCtr="0">
            <a:noAutofit/>
          </a:bodyPr>
          <a:lstStyle>
            <a:lvl1pPr marL="0" indent="0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sz="1215" kern="12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08607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sz="13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17214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sz="1215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925821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234427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1543035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6pPr>
            <a:lvl7pPr marL="1851641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7pPr>
            <a:lvl8pPr marL="2160248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8pPr>
            <a:lvl9pPr marL="2468856" indent="0" algn="ctr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9pPr>
          </a:lstStyle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215" b="1" i="0" u="none" strike="noStrike" kern="1200" cap="none" spc="0" normalizeH="0" baseline="0" noProof="0">
                <a:ln>
                  <a:noFill/>
                </a:ln>
                <a:solidFill>
                  <a:srgbClr val="F179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EWRC 2025 Workshop | How Much Nature Do We Need in our Cities? Turning Data into Urban Greening Action</a:t>
            </a:r>
          </a:p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endParaRPr kumimoji="0" lang="es-ES" sz="810" b="0" i="0" u="none" strike="noStrike" kern="1200" cap="none" spc="0" normalizeH="0" baseline="0" noProof="0">
              <a:ln>
                <a:noFill/>
              </a:ln>
              <a:solidFill>
                <a:srgbClr val="F179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s-ES" sz="945" b="0" i="0" u="none" strike="noStrike" kern="1200" cap="none" spc="0" normalizeH="0" baseline="0" noProof="0">
                <a:ln>
                  <a:noFill/>
                </a:ln>
                <a:solidFill>
                  <a:srgbClr val="F17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 October 2025</a:t>
            </a:r>
            <a:endParaRPr kumimoji="0" lang="en-HR" sz="1215" b="0" i="0" u="none" strike="noStrike" kern="1200" cap="none" spc="0" normalizeH="0" baseline="0" noProof="0" dirty="0">
              <a:ln>
                <a:noFill/>
              </a:ln>
              <a:solidFill>
                <a:srgbClr val="F179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01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A4A636-ADFD-8C2F-A417-DC3736C085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5B7C27-3FE4-4A2D-B806-6F5728E302F6}" type="slidenum">
              <a:rPr lang="da-DK" smtClean="0"/>
              <a:pPr/>
              <a:t>22</a:t>
            </a:fld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5EB5C28-4791-ED49-BD39-A82DA1807E78}"/>
              </a:ext>
            </a:extLst>
          </p:cNvPr>
          <p:cNvSpPr txBox="1">
            <a:spLocks/>
          </p:cNvSpPr>
          <p:nvPr/>
        </p:nvSpPr>
        <p:spPr>
          <a:xfrm>
            <a:off x="810000" y="310500"/>
            <a:ext cx="7290000" cy="94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About the ESPON GILL Project</a:t>
            </a:r>
            <a:endParaRPr kumimoji="0" lang="en-HR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0AC1FCEE-5671-F4C4-4FA4-8DB93B6D3F55}"/>
              </a:ext>
            </a:extLst>
          </p:cNvPr>
          <p:cNvSpPr txBox="1">
            <a:spLocks/>
          </p:cNvSpPr>
          <p:nvPr/>
        </p:nvSpPr>
        <p:spPr>
          <a:xfrm>
            <a:off x="1174500" y="4860000"/>
            <a:ext cx="4050000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PON GILL</a:t>
            </a:r>
            <a:endParaRPr kumimoji="0" lang="da-DK" sz="54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718640D-FD79-E839-A423-5DD005FB177D}"/>
              </a:ext>
            </a:extLst>
          </p:cNvPr>
          <p:cNvSpPr txBox="1">
            <a:spLocks/>
          </p:cNvSpPr>
          <p:nvPr/>
        </p:nvSpPr>
        <p:spPr>
          <a:xfrm>
            <a:off x="81000" y="4860000"/>
            <a:ext cx="351000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B7C27-3FE4-4A2D-B806-6F5728E302F6}" type="slidenum">
              <a:rPr kumimoji="0" lang="da-DK" sz="54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a-DK" sz="54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AA77C14-9312-9365-DB89-A387AB16FDEC}"/>
              </a:ext>
            </a:extLst>
          </p:cNvPr>
          <p:cNvSpPr txBox="1">
            <a:spLocks/>
          </p:cNvSpPr>
          <p:nvPr/>
        </p:nvSpPr>
        <p:spPr>
          <a:xfrm>
            <a:off x="1186202" y="1502056"/>
            <a:ext cx="7154192" cy="28861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149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215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42997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44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859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607494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28993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6pPr>
            <a:lvl7pPr marL="850492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7pPr>
            <a:lvl8pPr marL="971990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8pPr>
            <a:lvl9pPr marL="109348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9pPr>
          </a:lstStyle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s-ES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iver an 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highlight>
                  <a:srgbClr val="A9D8FF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idence-based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highlight>
                  <a:srgbClr val="A9D8FF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ientifically robust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highlight>
                  <a:srgbClr val="A9D8FF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alable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and 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highlight>
                  <a:srgbClr val="A9D8FF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r-friendly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ethodology to guide policymakers and practitioners in quantifying the demand for green (and blue) infrastructure at the local level </a:t>
            </a:r>
          </a:p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t its core the GILL methodology aims to map the gap between 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highlight>
                  <a:srgbClr val="A9D8FF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cosystem service supply 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d </a:t>
            </a:r>
            <a:r>
              <a:rPr kumimoji="0" lang="en-GB" sz="189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highlight>
                  <a:srgbClr val="A9D8FF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uman / ecosystem needs.</a:t>
            </a:r>
          </a:p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endParaRPr kumimoji="0" lang="en-GB" sz="189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highlight>
                <a:srgbClr val="A9D8FF"/>
              </a:highligh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just" defTabSz="617214" rtl="0" eaLnBrk="1" fontAlgn="auto" latinLnBrk="0" hangingPunct="1">
              <a:lnSpc>
                <a:spcPts val="2025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s-ES" sz="1890" b="1" i="0" u="none" strike="noStrike" kern="1200" cap="none" spc="0" normalizeH="0" baseline="0" noProof="0">
                <a:ln>
                  <a:noFill/>
                </a:ln>
                <a:solidFill>
                  <a:srgbClr val="B55B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The GILL methodology should tell </a:t>
            </a:r>
            <a:r>
              <a:rPr kumimoji="0" lang="en-GB" sz="1890" b="1" i="0" u="none" strike="noStrike" kern="1200" cap="none" spc="0" normalizeH="0" baseline="0" noProof="0">
                <a:ln>
                  <a:noFill/>
                </a:ln>
                <a:solidFill>
                  <a:srgbClr val="B55B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ere nature is “working” for the city, and where the city needs more nature to “work” for it.</a:t>
            </a:r>
            <a:endParaRPr kumimoji="0" lang="es-ES" sz="1890" b="1" i="0" u="none" strike="noStrike" kern="1200" cap="none" spc="0" normalizeH="0" baseline="0" noProof="0" dirty="0">
              <a:ln>
                <a:noFill/>
              </a:ln>
              <a:solidFill>
                <a:srgbClr val="B55B00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pic>
        <p:nvPicPr>
          <p:cNvPr id="9" name="Imagen 4">
            <a:extLst>
              <a:ext uri="{FF2B5EF4-FFF2-40B4-BE49-F238E27FC236}">
                <a16:creationId xmlns:a16="http://schemas.microsoft.com/office/drawing/2014/main" id="{4CB14E94-CCBB-7D21-37BA-74AB7D40B1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956" y="158694"/>
            <a:ext cx="930608" cy="194621"/>
          </a:xfrm>
          <a:prstGeom prst="rect">
            <a:avLst/>
          </a:prstGeom>
        </p:spPr>
      </p:pic>
      <p:pic>
        <p:nvPicPr>
          <p:cNvPr id="10" name="Imagen 6">
            <a:extLst>
              <a:ext uri="{FF2B5EF4-FFF2-40B4-BE49-F238E27FC236}">
                <a16:creationId xmlns:a16="http://schemas.microsoft.com/office/drawing/2014/main" id="{34A767D4-F25D-2CB4-0C8B-879153BCB4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6" y="37303"/>
            <a:ext cx="317851" cy="401422"/>
          </a:xfrm>
          <a:prstGeom prst="rect">
            <a:avLst/>
          </a:prstGeom>
        </p:spPr>
      </p:pic>
      <p:pic>
        <p:nvPicPr>
          <p:cNvPr id="11" name="Imagen 7">
            <a:extLst>
              <a:ext uri="{FF2B5EF4-FFF2-40B4-BE49-F238E27FC236}">
                <a16:creationId xmlns:a16="http://schemas.microsoft.com/office/drawing/2014/main" id="{DF97B360-9ABC-0DC4-F05A-77BB6615BF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6068" y="85461"/>
            <a:ext cx="811841" cy="305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466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38F674-E556-14F6-F70F-AE837FE833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5B7C27-3FE4-4A2D-B806-6F5728E302F6}" type="slidenum">
              <a:rPr lang="da-DK" smtClean="0"/>
              <a:pPr/>
              <a:t>23</a:t>
            </a:fld>
            <a:endParaRPr lang="da-DK"/>
          </a:p>
        </p:txBody>
      </p:sp>
      <p:sp>
        <p:nvSpPr>
          <p:cNvPr id="22" name="Title 28">
            <a:extLst>
              <a:ext uri="{FF2B5EF4-FFF2-40B4-BE49-F238E27FC236}">
                <a16:creationId xmlns:a16="http://schemas.microsoft.com/office/drawing/2014/main" id="{6905CA69-8526-816C-309D-4BE1B4B9A082}"/>
              </a:ext>
            </a:extLst>
          </p:cNvPr>
          <p:cNvSpPr txBox="1">
            <a:spLocks/>
          </p:cNvSpPr>
          <p:nvPr/>
        </p:nvSpPr>
        <p:spPr>
          <a:xfrm>
            <a:off x="810000" y="310500"/>
            <a:ext cx="7290000" cy="94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How to quantify the services provided by green infrastucture?</a:t>
            </a:r>
            <a:endParaRPr kumimoji="0" lang="en-GB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134126C0-B34F-09CA-A2D9-21BA6E6DB279}"/>
              </a:ext>
            </a:extLst>
          </p:cNvPr>
          <p:cNvSpPr txBox="1">
            <a:spLocks/>
          </p:cNvSpPr>
          <p:nvPr/>
        </p:nvSpPr>
        <p:spPr>
          <a:xfrm>
            <a:off x="1514250" y="4631175"/>
            <a:ext cx="36450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PON GILL</a:t>
            </a:r>
            <a:endParaRPr kumimoji="0" lang="da-DK" sz="54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86C8A08F-6D1F-0A1D-436C-3AC23D50A749}"/>
              </a:ext>
            </a:extLst>
          </p:cNvPr>
          <p:cNvSpPr txBox="1">
            <a:spLocks/>
          </p:cNvSpPr>
          <p:nvPr/>
        </p:nvSpPr>
        <p:spPr>
          <a:xfrm>
            <a:off x="530100" y="4631175"/>
            <a:ext cx="3159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B7C27-3FE4-4A2D-B806-6F5728E302F6}" type="slidenum">
              <a:rPr kumimoji="0" lang="da-DK" sz="54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a-DK" sz="54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5CA5C7DB-92C4-9275-71CB-67B044D26CE7}"/>
              </a:ext>
            </a:extLst>
          </p:cNvPr>
          <p:cNvSpPr txBox="1">
            <a:spLocks/>
          </p:cNvSpPr>
          <p:nvPr/>
        </p:nvSpPr>
        <p:spPr>
          <a:xfrm>
            <a:off x="530100" y="1491539"/>
            <a:ext cx="7719503" cy="587526"/>
          </a:xfrm>
          <a:prstGeom prst="rect">
            <a:avLst/>
          </a:prstGeom>
          <a:solidFill>
            <a:srgbClr val="9ACA3C">
              <a:lumMod val="20000"/>
              <a:lumOff val="80000"/>
            </a:srgbClr>
          </a:solidFill>
        </p:spPr>
        <p:txBody>
          <a:bodyPr vert="horz" lIns="48600" tIns="48600" rIns="48600" bIns="48600" rtlCol="0">
            <a:noAutofit/>
          </a:bodyPr>
          <a:lstStyle>
            <a:lvl1pPr marL="12149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215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42997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44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859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607494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28993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6pPr>
            <a:lvl7pPr marL="850492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7pPr>
            <a:lvl8pPr marL="971990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8pPr>
            <a:lvl9pPr marL="109348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9pPr>
          </a:lstStyle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nl-NL" sz="1215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e can measure what Green Infrastructure provides using the Ecoystem Service Assessment approach</a:t>
            </a:r>
            <a:endParaRPr kumimoji="0" lang="en-GB" sz="1215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endParaRPr kumimoji="0" lang="en-GB" sz="1215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73388008-58D9-7F67-25D9-A1FFE5A2250F}"/>
              </a:ext>
            </a:extLst>
          </p:cNvPr>
          <p:cNvSpPr txBox="1">
            <a:spLocks/>
          </p:cNvSpPr>
          <p:nvPr/>
        </p:nvSpPr>
        <p:spPr>
          <a:xfrm>
            <a:off x="1291500" y="907877"/>
            <a:ext cx="6561000" cy="850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400"/>
              </a:lnSpc>
              <a:spcBef>
                <a:spcPct val="0"/>
              </a:spcBef>
              <a:buNone/>
              <a:defRPr sz="3800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endParaRPr lang="en-HR" sz="2565" dirty="0">
              <a:solidFill>
                <a:srgbClr val="003399"/>
              </a:solidFill>
              <a:latin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07F109D-FEDF-2FDF-9213-2C09172C227A}"/>
              </a:ext>
            </a:extLst>
          </p:cNvPr>
          <p:cNvSpPr txBox="1"/>
          <p:nvPr/>
        </p:nvSpPr>
        <p:spPr>
          <a:xfrm>
            <a:off x="7229833" y="4480133"/>
            <a:ext cx="867545" cy="206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13232"/>
            <a:r>
              <a:rPr lang="nl-NL" sz="743" dirty="0">
                <a:solidFill>
                  <a:prstClr val="black"/>
                </a:solidFill>
                <a:latin typeface="Arial"/>
              </a:rPr>
              <a:t>Image: C/O City</a:t>
            </a:r>
            <a:endParaRPr lang="en-GB" sz="743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AC01E74-1C24-0902-0D7B-2AB9441DDD69}"/>
              </a:ext>
            </a:extLst>
          </p:cNvPr>
          <p:cNvGrpSpPr/>
          <p:nvPr/>
        </p:nvGrpSpPr>
        <p:grpSpPr>
          <a:xfrm>
            <a:off x="1821688" y="2103096"/>
            <a:ext cx="6753390" cy="2377036"/>
            <a:chOff x="2021461" y="2734697"/>
            <a:chExt cx="10005022" cy="3521535"/>
          </a:xfrm>
        </p:grpSpPr>
        <p:pic>
          <p:nvPicPr>
            <p:cNvPr id="29" name="Picture 2" descr="Urban ecosystem services - C/O City">
              <a:extLst>
                <a:ext uri="{FF2B5EF4-FFF2-40B4-BE49-F238E27FC236}">
                  <a16:creationId xmlns:a16="http://schemas.microsoft.com/office/drawing/2014/main" id="{5534DB57-B6F0-6E2C-05AA-2B4B44D91D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1461" y="2734697"/>
              <a:ext cx="10005022" cy="35215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Freeform: Shape 1">
              <a:extLst>
                <a:ext uri="{FF2B5EF4-FFF2-40B4-BE49-F238E27FC236}">
                  <a16:creationId xmlns:a16="http://schemas.microsoft.com/office/drawing/2014/main" id="{A6F94FCA-A7F7-675A-B006-FE8EDB559BC6}"/>
                </a:ext>
              </a:extLst>
            </p:cNvPr>
            <p:cNvSpPr/>
            <p:nvPr/>
          </p:nvSpPr>
          <p:spPr>
            <a:xfrm>
              <a:off x="7720315" y="3263316"/>
              <a:ext cx="1736202" cy="884154"/>
            </a:xfrm>
            <a:custGeom>
              <a:avLst/>
              <a:gdLst>
                <a:gd name="connsiteX0" fmla="*/ 0 w 2131851"/>
                <a:gd name="connsiteY0" fmla="*/ 127595 h 1275953"/>
                <a:gd name="connsiteX1" fmla="*/ 127595 w 2131851"/>
                <a:gd name="connsiteY1" fmla="*/ 0 h 1275953"/>
                <a:gd name="connsiteX2" fmla="*/ 2004256 w 2131851"/>
                <a:gd name="connsiteY2" fmla="*/ 0 h 1275953"/>
                <a:gd name="connsiteX3" fmla="*/ 2131851 w 2131851"/>
                <a:gd name="connsiteY3" fmla="*/ 127595 h 1275953"/>
                <a:gd name="connsiteX4" fmla="*/ 2131851 w 2131851"/>
                <a:gd name="connsiteY4" fmla="*/ 1148358 h 1275953"/>
                <a:gd name="connsiteX5" fmla="*/ 2004256 w 2131851"/>
                <a:gd name="connsiteY5" fmla="*/ 1275953 h 1275953"/>
                <a:gd name="connsiteX6" fmla="*/ 127595 w 2131851"/>
                <a:gd name="connsiteY6" fmla="*/ 1275953 h 1275953"/>
                <a:gd name="connsiteX7" fmla="*/ 0 w 2131851"/>
                <a:gd name="connsiteY7" fmla="*/ 1148358 h 1275953"/>
                <a:gd name="connsiteX8" fmla="*/ 0 w 2131851"/>
                <a:gd name="connsiteY8" fmla="*/ 127595 h 1275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1851" h="1275953">
                  <a:moveTo>
                    <a:pt x="0" y="127595"/>
                  </a:moveTo>
                  <a:cubicBezTo>
                    <a:pt x="0" y="57126"/>
                    <a:pt x="57126" y="0"/>
                    <a:pt x="127595" y="0"/>
                  </a:cubicBezTo>
                  <a:lnTo>
                    <a:pt x="2004256" y="0"/>
                  </a:lnTo>
                  <a:cubicBezTo>
                    <a:pt x="2074725" y="0"/>
                    <a:pt x="2131851" y="57126"/>
                    <a:pt x="2131851" y="127595"/>
                  </a:cubicBezTo>
                  <a:lnTo>
                    <a:pt x="2131851" y="1148358"/>
                  </a:lnTo>
                  <a:cubicBezTo>
                    <a:pt x="2131851" y="1218827"/>
                    <a:pt x="2074725" y="1275953"/>
                    <a:pt x="2004256" y="1275953"/>
                  </a:cubicBezTo>
                  <a:lnTo>
                    <a:pt x="127595" y="1275953"/>
                  </a:lnTo>
                  <a:cubicBezTo>
                    <a:pt x="57126" y="1275953"/>
                    <a:pt x="0" y="1218827"/>
                    <a:pt x="0" y="1148358"/>
                  </a:cubicBezTo>
                  <a:lnTo>
                    <a:pt x="0" y="127595"/>
                  </a:lnTo>
                  <a:close/>
                </a:path>
              </a:pathLst>
            </a:custGeom>
            <a:solidFill>
              <a:sysClr val="window" lastClr="FFFFFF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211410" tIns="211410" rIns="211410" bIns="211942" numCol="1" spcCol="1270" anchor="ctr" anchorCtr="0">
              <a:noAutofit/>
            </a:bodyPr>
            <a:lstStyle>
              <a:defPPr>
                <a:defRPr lang="en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3E3E3"/>
                </a:buClr>
                <a:buSzTx/>
                <a:buFontTx/>
                <a:buNone/>
                <a:tabLst/>
                <a:defRPr/>
              </a:pPr>
              <a:r>
                <a:rPr kumimoji="0" lang="en-US" sz="945" b="1" i="0" u="none" strike="noStrike" kern="1200" cap="none" spc="-21" normalizeH="0" baseline="0" noProof="0" dirty="0">
                  <a:ln>
                    <a:noFill/>
                  </a:ln>
                  <a:noFill/>
                  <a:effectLst/>
                  <a:uLnTx/>
                  <a:uFillTx/>
                  <a:latin typeface="Arial"/>
                  <a:ea typeface="+mn-ea"/>
                  <a:cs typeface="+mn-cs"/>
                </a:rPr>
                <a:t>Provision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A591B-7D28-FAFC-433A-F610E313AEF7}"/>
              </a:ext>
            </a:extLst>
          </p:cNvPr>
          <p:cNvGrpSpPr/>
          <p:nvPr/>
        </p:nvGrpSpPr>
        <p:grpSpPr>
          <a:xfrm>
            <a:off x="567588" y="2190908"/>
            <a:ext cx="1350010" cy="2587626"/>
            <a:chOff x="163537" y="2864789"/>
            <a:chExt cx="2000014" cy="3833520"/>
          </a:xfrm>
        </p:grpSpPr>
        <p:sp>
          <p:nvSpPr>
            <p:cNvPr id="32" name="Freeform: Shape 16">
              <a:extLst>
                <a:ext uri="{FF2B5EF4-FFF2-40B4-BE49-F238E27FC236}">
                  <a16:creationId xmlns:a16="http://schemas.microsoft.com/office/drawing/2014/main" id="{0E7E9DC3-DAC0-C37A-AF3C-B6FA60C95613}"/>
                </a:ext>
              </a:extLst>
            </p:cNvPr>
            <p:cNvSpPr/>
            <p:nvPr/>
          </p:nvSpPr>
          <p:spPr>
            <a:xfrm>
              <a:off x="163537" y="2864789"/>
              <a:ext cx="1990800" cy="884154"/>
            </a:xfrm>
            <a:custGeom>
              <a:avLst/>
              <a:gdLst>
                <a:gd name="connsiteX0" fmla="*/ 0 w 2131851"/>
                <a:gd name="connsiteY0" fmla="*/ 127595 h 1275953"/>
                <a:gd name="connsiteX1" fmla="*/ 127595 w 2131851"/>
                <a:gd name="connsiteY1" fmla="*/ 0 h 1275953"/>
                <a:gd name="connsiteX2" fmla="*/ 2004256 w 2131851"/>
                <a:gd name="connsiteY2" fmla="*/ 0 h 1275953"/>
                <a:gd name="connsiteX3" fmla="*/ 2131851 w 2131851"/>
                <a:gd name="connsiteY3" fmla="*/ 127595 h 1275953"/>
                <a:gd name="connsiteX4" fmla="*/ 2131851 w 2131851"/>
                <a:gd name="connsiteY4" fmla="*/ 1148358 h 1275953"/>
                <a:gd name="connsiteX5" fmla="*/ 2004256 w 2131851"/>
                <a:gd name="connsiteY5" fmla="*/ 1275953 h 1275953"/>
                <a:gd name="connsiteX6" fmla="*/ 127595 w 2131851"/>
                <a:gd name="connsiteY6" fmla="*/ 1275953 h 1275953"/>
                <a:gd name="connsiteX7" fmla="*/ 0 w 2131851"/>
                <a:gd name="connsiteY7" fmla="*/ 1148358 h 1275953"/>
                <a:gd name="connsiteX8" fmla="*/ 0 w 2131851"/>
                <a:gd name="connsiteY8" fmla="*/ 127595 h 1275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1851" h="1275953">
                  <a:moveTo>
                    <a:pt x="0" y="127595"/>
                  </a:moveTo>
                  <a:cubicBezTo>
                    <a:pt x="0" y="57126"/>
                    <a:pt x="57126" y="0"/>
                    <a:pt x="127595" y="0"/>
                  </a:cubicBezTo>
                  <a:lnTo>
                    <a:pt x="2004256" y="0"/>
                  </a:lnTo>
                  <a:cubicBezTo>
                    <a:pt x="2074725" y="0"/>
                    <a:pt x="2131851" y="57126"/>
                    <a:pt x="2131851" y="127595"/>
                  </a:cubicBezTo>
                  <a:lnTo>
                    <a:pt x="2131851" y="1148358"/>
                  </a:lnTo>
                  <a:cubicBezTo>
                    <a:pt x="2131851" y="1218827"/>
                    <a:pt x="2074725" y="1275953"/>
                    <a:pt x="2004256" y="1275953"/>
                  </a:cubicBezTo>
                  <a:lnTo>
                    <a:pt x="127595" y="1275953"/>
                  </a:lnTo>
                  <a:cubicBezTo>
                    <a:pt x="57126" y="1275953"/>
                    <a:pt x="0" y="1218827"/>
                    <a:pt x="0" y="1148358"/>
                  </a:cubicBezTo>
                  <a:lnTo>
                    <a:pt x="0" y="127595"/>
                  </a:lnTo>
                  <a:close/>
                </a:path>
              </a:pathLst>
            </a:custGeom>
            <a:solidFill>
              <a:srgbClr val="659ABA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211410" tIns="211410" rIns="211410" bIns="211942" numCol="1" spcCol="1270" anchor="ctr" anchorCtr="0">
              <a:noAutofit/>
            </a:bodyPr>
            <a:lstStyle>
              <a:defPPr>
                <a:defRPr lang="en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3E3E3"/>
                </a:buClr>
                <a:buSzTx/>
                <a:buFontTx/>
                <a:buNone/>
                <a:tabLst/>
                <a:defRPr/>
              </a:pPr>
              <a:r>
                <a:rPr kumimoji="0" lang="en-US" sz="945" b="1" i="0" u="none" strike="noStrike" kern="1200" cap="none" spc="-21" normalizeH="0" baseline="0" noProof="0" dirty="0">
                  <a:ln>
                    <a:noFill/>
                  </a:ln>
                  <a:solidFill>
                    <a:srgbClr val="E3E3E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visioning</a:t>
              </a:r>
            </a:p>
          </p:txBody>
        </p:sp>
        <p:sp>
          <p:nvSpPr>
            <p:cNvPr id="33" name="Freeform: Shape 17">
              <a:extLst>
                <a:ext uri="{FF2B5EF4-FFF2-40B4-BE49-F238E27FC236}">
                  <a16:creationId xmlns:a16="http://schemas.microsoft.com/office/drawing/2014/main" id="{CFE64EC7-869B-B780-3556-6F930F033872}"/>
                </a:ext>
              </a:extLst>
            </p:cNvPr>
            <p:cNvSpPr/>
            <p:nvPr/>
          </p:nvSpPr>
          <p:spPr>
            <a:xfrm>
              <a:off x="163537" y="3847911"/>
              <a:ext cx="1990800" cy="884154"/>
            </a:xfrm>
            <a:custGeom>
              <a:avLst/>
              <a:gdLst>
                <a:gd name="connsiteX0" fmla="*/ 0 w 2131851"/>
                <a:gd name="connsiteY0" fmla="*/ 127595 h 1275953"/>
                <a:gd name="connsiteX1" fmla="*/ 127595 w 2131851"/>
                <a:gd name="connsiteY1" fmla="*/ 0 h 1275953"/>
                <a:gd name="connsiteX2" fmla="*/ 2004256 w 2131851"/>
                <a:gd name="connsiteY2" fmla="*/ 0 h 1275953"/>
                <a:gd name="connsiteX3" fmla="*/ 2131851 w 2131851"/>
                <a:gd name="connsiteY3" fmla="*/ 127595 h 1275953"/>
                <a:gd name="connsiteX4" fmla="*/ 2131851 w 2131851"/>
                <a:gd name="connsiteY4" fmla="*/ 1148358 h 1275953"/>
                <a:gd name="connsiteX5" fmla="*/ 2004256 w 2131851"/>
                <a:gd name="connsiteY5" fmla="*/ 1275953 h 1275953"/>
                <a:gd name="connsiteX6" fmla="*/ 127595 w 2131851"/>
                <a:gd name="connsiteY6" fmla="*/ 1275953 h 1275953"/>
                <a:gd name="connsiteX7" fmla="*/ 0 w 2131851"/>
                <a:gd name="connsiteY7" fmla="*/ 1148358 h 1275953"/>
                <a:gd name="connsiteX8" fmla="*/ 0 w 2131851"/>
                <a:gd name="connsiteY8" fmla="*/ 127595 h 1275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1851" h="1275953">
                  <a:moveTo>
                    <a:pt x="0" y="127595"/>
                  </a:moveTo>
                  <a:cubicBezTo>
                    <a:pt x="0" y="57126"/>
                    <a:pt x="57126" y="0"/>
                    <a:pt x="127595" y="0"/>
                  </a:cubicBezTo>
                  <a:lnTo>
                    <a:pt x="2004256" y="0"/>
                  </a:lnTo>
                  <a:cubicBezTo>
                    <a:pt x="2074725" y="0"/>
                    <a:pt x="2131851" y="57126"/>
                    <a:pt x="2131851" y="127595"/>
                  </a:cubicBezTo>
                  <a:lnTo>
                    <a:pt x="2131851" y="1148358"/>
                  </a:lnTo>
                  <a:cubicBezTo>
                    <a:pt x="2131851" y="1218827"/>
                    <a:pt x="2074725" y="1275953"/>
                    <a:pt x="2004256" y="1275953"/>
                  </a:cubicBezTo>
                  <a:lnTo>
                    <a:pt x="127595" y="1275953"/>
                  </a:lnTo>
                  <a:cubicBezTo>
                    <a:pt x="57126" y="1275953"/>
                    <a:pt x="0" y="1218827"/>
                    <a:pt x="0" y="1148358"/>
                  </a:cubicBezTo>
                  <a:lnTo>
                    <a:pt x="0" y="127595"/>
                  </a:lnTo>
                  <a:close/>
                </a:path>
              </a:pathLst>
            </a:custGeom>
            <a:solidFill>
              <a:srgbClr val="EA9999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211410" tIns="211410" rIns="211410" bIns="211942" numCol="1" spcCol="1270" anchor="ctr" anchorCtr="0">
              <a:noAutofit/>
            </a:bodyPr>
            <a:lstStyle>
              <a:defPPr>
                <a:defRPr lang="en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3E3E3"/>
                </a:buClr>
                <a:buSzTx/>
                <a:buFontTx/>
                <a:buNone/>
                <a:tabLst/>
                <a:defRPr/>
              </a:pPr>
              <a:r>
                <a:rPr kumimoji="0" lang="en-US" sz="945" b="1" i="0" u="none" strike="noStrike" kern="1200" cap="none" spc="0" normalizeH="0" baseline="0" noProof="0" dirty="0">
                  <a:ln>
                    <a:noFill/>
                  </a:ln>
                  <a:solidFill>
                    <a:srgbClr val="E3E3E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ulating </a:t>
              </a:r>
            </a:p>
          </p:txBody>
        </p:sp>
        <p:sp>
          <p:nvSpPr>
            <p:cNvPr id="34" name="Freeform: Shape 18">
              <a:extLst>
                <a:ext uri="{FF2B5EF4-FFF2-40B4-BE49-F238E27FC236}">
                  <a16:creationId xmlns:a16="http://schemas.microsoft.com/office/drawing/2014/main" id="{1446179E-F25B-BEBA-51BA-965F934F649D}"/>
                </a:ext>
              </a:extLst>
            </p:cNvPr>
            <p:cNvSpPr/>
            <p:nvPr/>
          </p:nvSpPr>
          <p:spPr>
            <a:xfrm>
              <a:off x="165517" y="4831033"/>
              <a:ext cx="1988820" cy="884154"/>
            </a:xfrm>
            <a:custGeom>
              <a:avLst/>
              <a:gdLst>
                <a:gd name="connsiteX0" fmla="*/ 0 w 2131851"/>
                <a:gd name="connsiteY0" fmla="*/ 127595 h 1275953"/>
                <a:gd name="connsiteX1" fmla="*/ 127595 w 2131851"/>
                <a:gd name="connsiteY1" fmla="*/ 0 h 1275953"/>
                <a:gd name="connsiteX2" fmla="*/ 2004256 w 2131851"/>
                <a:gd name="connsiteY2" fmla="*/ 0 h 1275953"/>
                <a:gd name="connsiteX3" fmla="*/ 2131851 w 2131851"/>
                <a:gd name="connsiteY3" fmla="*/ 127595 h 1275953"/>
                <a:gd name="connsiteX4" fmla="*/ 2131851 w 2131851"/>
                <a:gd name="connsiteY4" fmla="*/ 1148358 h 1275953"/>
                <a:gd name="connsiteX5" fmla="*/ 2004256 w 2131851"/>
                <a:gd name="connsiteY5" fmla="*/ 1275953 h 1275953"/>
                <a:gd name="connsiteX6" fmla="*/ 127595 w 2131851"/>
                <a:gd name="connsiteY6" fmla="*/ 1275953 h 1275953"/>
                <a:gd name="connsiteX7" fmla="*/ 0 w 2131851"/>
                <a:gd name="connsiteY7" fmla="*/ 1148358 h 1275953"/>
                <a:gd name="connsiteX8" fmla="*/ 0 w 2131851"/>
                <a:gd name="connsiteY8" fmla="*/ 127595 h 1275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1851" h="1275953">
                  <a:moveTo>
                    <a:pt x="0" y="127595"/>
                  </a:moveTo>
                  <a:cubicBezTo>
                    <a:pt x="0" y="57126"/>
                    <a:pt x="57126" y="0"/>
                    <a:pt x="127595" y="0"/>
                  </a:cubicBezTo>
                  <a:lnTo>
                    <a:pt x="2004256" y="0"/>
                  </a:lnTo>
                  <a:cubicBezTo>
                    <a:pt x="2074725" y="0"/>
                    <a:pt x="2131851" y="57126"/>
                    <a:pt x="2131851" y="127595"/>
                  </a:cubicBezTo>
                  <a:lnTo>
                    <a:pt x="2131851" y="1148358"/>
                  </a:lnTo>
                  <a:cubicBezTo>
                    <a:pt x="2131851" y="1218827"/>
                    <a:pt x="2074725" y="1275953"/>
                    <a:pt x="2004256" y="1275953"/>
                  </a:cubicBezTo>
                  <a:lnTo>
                    <a:pt x="127595" y="1275953"/>
                  </a:lnTo>
                  <a:cubicBezTo>
                    <a:pt x="57126" y="1275953"/>
                    <a:pt x="0" y="1218827"/>
                    <a:pt x="0" y="1148358"/>
                  </a:cubicBezTo>
                  <a:lnTo>
                    <a:pt x="0" y="127595"/>
                  </a:lnTo>
                  <a:close/>
                </a:path>
              </a:pathLst>
            </a:custGeom>
            <a:solidFill>
              <a:srgbClr val="D02328"/>
            </a:solidFill>
            <a:ln w="31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  <p:txBody>
            <a:bodyPr spcFirstLastPara="0" vert="horz" wrap="square" lIns="211942" tIns="211942" rIns="211942" bIns="211942" numCol="1" spcCol="1270" anchor="ctr" anchorCtr="0">
              <a:noAutofit/>
            </a:bodyPr>
            <a:lstStyle>
              <a:defPPr>
                <a:defRPr lang="en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45" b="1" i="0" u="none" strike="noStrike" kern="1200" cap="none" spc="0" normalizeH="0" baseline="0" noProof="0" dirty="0">
                  <a:ln>
                    <a:noFill/>
                  </a:ln>
                  <a:solidFill>
                    <a:srgbClr val="E3E3E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ltural </a:t>
              </a:r>
            </a:p>
          </p:txBody>
        </p:sp>
        <p:sp>
          <p:nvSpPr>
            <p:cNvPr id="35" name="Freeform: Shape 45">
              <a:extLst>
                <a:ext uri="{FF2B5EF4-FFF2-40B4-BE49-F238E27FC236}">
                  <a16:creationId xmlns:a16="http://schemas.microsoft.com/office/drawing/2014/main" id="{F580C99E-6544-0E5F-95B1-907ABEFDAF7E}"/>
                </a:ext>
              </a:extLst>
            </p:cNvPr>
            <p:cNvSpPr/>
            <p:nvPr/>
          </p:nvSpPr>
          <p:spPr>
            <a:xfrm>
              <a:off x="174731" y="5814155"/>
              <a:ext cx="1988820" cy="884154"/>
            </a:xfrm>
            <a:custGeom>
              <a:avLst/>
              <a:gdLst>
                <a:gd name="connsiteX0" fmla="*/ 0 w 6664169"/>
                <a:gd name="connsiteY0" fmla="*/ 127595 h 1275953"/>
                <a:gd name="connsiteX1" fmla="*/ 127595 w 6664169"/>
                <a:gd name="connsiteY1" fmla="*/ 0 h 1275953"/>
                <a:gd name="connsiteX2" fmla="*/ 6536574 w 6664169"/>
                <a:gd name="connsiteY2" fmla="*/ 0 h 1275953"/>
                <a:gd name="connsiteX3" fmla="*/ 6664169 w 6664169"/>
                <a:gd name="connsiteY3" fmla="*/ 127595 h 1275953"/>
                <a:gd name="connsiteX4" fmla="*/ 6664169 w 6664169"/>
                <a:gd name="connsiteY4" fmla="*/ 1148358 h 1275953"/>
                <a:gd name="connsiteX5" fmla="*/ 6536574 w 6664169"/>
                <a:gd name="connsiteY5" fmla="*/ 1275953 h 1275953"/>
                <a:gd name="connsiteX6" fmla="*/ 127595 w 6664169"/>
                <a:gd name="connsiteY6" fmla="*/ 1275953 h 1275953"/>
                <a:gd name="connsiteX7" fmla="*/ 0 w 6664169"/>
                <a:gd name="connsiteY7" fmla="*/ 1148358 h 1275953"/>
                <a:gd name="connsiteX8" fmla="*/ 0 w 6664169"/>
                <a:gd name="connsiteY8" fmla="*/ 127595 h 1275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4169" h="1275953">
                  <a:moveTo>
                    <a:pt x="0" y="127595"/>
                  </a:moveTo>
                  <a:cubicBezTo>
                    <a:pt x="0" y="57126"/>
                    <a:pt x="57126" y="0"/>
                    <a:pt x="127595" y="0"/>
                  </a:cubicBezTo>
                  <a:lnTo>
                    <a:pt x="6536574" y="0"/>
                  </a:lnTo>
                  <a:cubicBezTo>
                    <a:pt x="6607043" y="0"/>
                    <a:pt x="6664169" y="57126"/>
                    <a:pt x="6664169" y="127595"/>
                  </a:cubicBezTo>
                  <a:lnTo>
                    <a:pt x="6664169" y="1148358"/>
                  </a:lnTo>
                  <a:cubicBezTo>
                    <a:pt x="6664169" y="1218827"/>
                    <a:pt x="6607043" y="1275953"/>
                    <a:pt x="6536574" y="1275953"/>
                  </a:cubicBezTo>
                  <a:lnTo>
                    <a:pt x="127595" y="1275953"/>
                  </a:lnTo>
                  <a:cubicBezTo>
                    <a:pt x="57126" y="1275953"/>
                    <a:pt x="0" y="1218827"/>
                    <a:pt x="0" y="1148358"/>
                  </a:cubicBezTo>
                  <a:lnTo>
                    <a:pt x="0" y="127595"/>
                  </a:lnTo>
                  <a:close/>
                </a:path>
              </a:pathLst>
            </a:custGeom>
            <a:solidFill>
              <a:srgbClr val="E3E3E3"/>
            </a:solidFill>
            <a:ln w="31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  <p:txBody>
            <a:bodyPr spcFirstLastPara="0" vert="horz" wrap="square" lIns="229087" tIns="229087" rIns="229087" bIns="229087" numCol="1" spcCol="1270" anchor="ctr" anchorCtr="0">
              <a:noAutofit/>
            </a:bodyPr>
            <a:lstStyle>
              <a:defPPr>
                <a:defRPr lang="en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172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45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pporting</a:t>
              </a:r>
            </a:p>
          </p:txBody>
        </p:sp>
      </p:grpSp>
      <p:pic>
        <p:nvPicPr>
          <p:cNvPr id="36" name="Imagen 4">
            <a:extLst>
              <a:ext uri="{FF2B5EF4-FFF2-40B4-BE49-F238E27FC236}">
                <a16:creationId xmlns:a16="http://schemas.microsoft.com/office/drawing/2014/main" id="{45EBB6B8-78E8-DA6A-39D8-66500EB8C0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956" y="158694"/>
            <a:ext cx="930608" cy="194621"/>
          </a:xfrm>
          <a:prstGeom prst="rect">
            <a:avLst/>
          </a:prstGeom>
        </p:spPr>
      </p:pic>
      <p:pic>
        <p:nvPicPr>
          <p:cNvPr id="37" name="Imagen 6">
            <a:extLst>
              <a:ext uri="{FF2B5EF4-FFF2-40B4-BE49-F238E27FC236}">
                <a16:creationId xmlns:a16="http://schemas.microsoft.com/office/drawing/2014/main" id="{8B241E3D-3F13-DB7F-0147-41C11A9436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6" y="37303"/>
            <a:ext cx="317851" cy="401422"/>
          </a:xfrm>
          <a:prstGeom prst="rect">
            <a:avLst/>
          </a:prstGeom>
        </p:spPr>
      </p:pic>
      <p:pic>
        <p:nvPicPr>
          <p:cNvPr id="38" name="Imagen 7">
            <a:extLst>
              <a:ext uri="{FF2B5EF4-FFF2-40B4-BE49-F238E27FC236}">
                <a16:creationId xmlns:a16="http://schemas.microsoft.com/office/drawing/2014/main" id="{86A8E83E-1209-8278-AD34-5255817D78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6068" y="85461"/>
            <a:ext cx="811841" cy="305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6928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35E187-32F7-6EDF-8D10-46768C6283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5B7C27-3FE4-4A2D-B806-6F5728E302F6}" type="slidenum">
              <a:rPr lang="da-DK" smtClean="0"/>
              <a:pPr/>
              <a:t>24</a:t>
            </a:fld>
            <a:endParaRPr lang="da-D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08D8EB-65AD-3004-91B1-4ED7260F210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 t="6872"/>
          <a:stretch>
            <a:fillRect/>
          </a:stretch>
        </p:blipFill>
        <p:spPr>
          <a:xfrm>
            <a:off x="5177727" y="1475826"/>
            <a:ext cx="3150723" cy="236629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AD3FFBE-8D27-5416-A6B7-BCD6303F0E1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494701" y="1333127"/>
            <a:ext cx="2841877" cy="23662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AF84D71-58B4-E172-76EE-BC3A0D3EFBA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9952" b="7344"/>
          <a:stretch>
            <a:fillRect/>
          </a:stretch>
        </p:blipFill>
        <p:spPr>
          <a:xfrm>
            <a:off x="5261646" y="1474482"/>
            <a:ext cx="3071613" cy="2366298"/>
          </a:xfrm>
          <a:prstGeom prst="rect">
            <a:avLst/>
          </a:prstGeom>
        </p:spPr>
      </p:pic>
      <p:sp>
        <p:nvSpPr>
          <p:cNvPr id="8" name="Title 28">
            <a:extLst>
              <a:ext uri="{FF2B5EF4-FFF2-40B4-BE49-F238E27FC236}">
                <a16:creationId xmlns:a16="http://schemas.microsoft.com/office/drawing/2014/main" id="{01421228-FC5C-D0BD-F8D8-DC9477C852A7}"/>
              </a:ext>
            </a:extLst>
          </p:cNvPr>
          <p:cNvSpPr txBox="1">
            <a:spLocks/>
          </p:cNvSpPr>
          <p:nvPr/>
        </p:nvSpPr>
        <p:spPr>
          <a:xfrm>
            <a:off x="810000" y="310500"/>
            <a:ext cx="7290000" cy="94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Using data to quantify ecosystem services provision and demand</a:t>
            </a:r>
            <a:endParaRPr kumimoji="0" lang="en-GB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874BF94D-A6EF-970B-5299-220A52FB6352}"/>
              </a:ext>
            </a:extLst>
          </p:cNvPr>
          <p:cNvSpPr txBox="1">
            <a:spLocks/>
          </p:cNvSpPr>
          <p:nvPr/>
        </p:nvSpPr>
        <p:spPr>
          <a:xfrm>
            <a:off x="1514250" y="4631175"/>
            <a:ext cx="36450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PON GILL</a:t>
            </a:r>
            <a:endParaRPr kumimoji="0" lang="da-DK" sz="54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D2810EF-84AB-120F-31B1-8E064D166569}"/>
              </a:ext>
            </a:extLst>
          </p:cNvPr>
          <p:cNvSpPr txBox="1">
            <a:spLocks/>
          </p:cNvSpPr>
          <p:nvPr/>
        </p:nvSpPr>
        <p:spPr>
          <a:xfrm>
            <a:off x="530100" y="4631175"/>
            <a:ext cx="3159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B7C27-3FE4-4A2D-B806-6F5728E302F6}" type="slidenum">
              <a:rPr kumimoji="0" lang="da-DK" sz="54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a-DK" sz="54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91D57E7-A62C-3C92-DD21-3013B673CEB5}"/>
              </a:ext>
            </a:extLst>
          </p:cNvPr>
          <p:cNvSpPr txBox="1">
            <a:spLocks/>
          </p:cNvSpPr>
          <p:nvPr/>
        </p:nvSpPr>
        <p:spPr>
          <a:xfrm>
            <a:off x="1291500" y="907877"/>
            <a:ext cx="6561000" cy="850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400"/>
              </a:lnSpc>
              <a:spcBef>
                <a:spcPct val="0"/>
              </a:spcBef>
              <a:buNone/>
              <a:defRPr sz="3800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HR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9E6050-4C49-4944-9103-2B5AFFBCE84D}"/>
              </a:ext>
            </a:extLst>
          </p:cNvPr>
          <p:cNvSpPr/>
          <p:nvPr/>
        </p:nvSpPr>
        <p:spPr>
          <a:xfrm>
            <a:off x="613100" y="2538526"/>
            <a:ext cx="1060481" cy="1028884"/>
          </a:xfrm>
          <a:prstGeom prst="rect">
            <a:avLst/>
          </a:prstGeom>
          <a:solidFill>
            <a:srgbClr val="003399"/>
          </a:solidFill>
          <a:ln w="12700" cap="flat" cmpd="sng" algn="ctr">
            <a:solidFill>
              <a:srgbClr val="00339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8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vironmental</a:t>
            </a: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nl-NL" sz="108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o-demographic</a:t>
            </a: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l-NL" sz="108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l-NL" sz="108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tial</a:t>
            </a: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ta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19F3529-99AB-767A-F16E-131E787F0CF3}"/>
              </a:ext>
            </a:extLst>
          </p:cNvPr>
          <p:cNvSpPr/>
          <p:nvPr/>
        </p:nvSpPr>
        <p:spPr>
          <a:xfrm>
            <a:off x="1768795" y="1438067"/>
            <a:ext cx="2211704" cy="1153765"/>
          </a:xfrm>
          <a:prstGeom prst="rect">
            <a:avLst/>
          </a:prstGeom>
          <a:solidFill>
            <a:srgbClr val="003399"/>
          </a:solidFill>
          <a:ln w="12700" cap="flat" cmpd="sng" algn="ctr">
            <a:solidFill>
              <a:srgbClr val="00339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8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much ecosystem services are currently being provided by existing green and blue infrastructure?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0A056A7-CDC1-2919-0E2D-16A63B81F39A}"/>
              </a:ext>
            </a:extLst>
          </p:cNvPr>
          <p:cNvSpPr/>
          <p:nvPr/>
        </p:nvSpPr>
        <p:spPr>
          <a:xfrm>
            <a:off x="1768795" y="3477530"/>
            <a:ext cx="2211704" cy="1153765"/>
          </a:xfrm>
          <a:prstGeom prst="rect">
            <a:avLst/>
          </a:prstGeom>
          <a:solidFill>
            <a:srgbClr val="003399"/>
          </a:solidFill>
          <a:ln w="12700" cap="flat" cmpd="sng" algn="ctr">
            <a:solidFill>
              <a:srgbClr val="00339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8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services do people and ecosystems in a city need most, and where?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500A60-3B47-F038-8847-A6FD29A233B9}"/>
              </a:ext>
            </a:extLst>
          </p:cNvPr>
          <p:cNvSpPr/>
          <p:nvPr/>
        </p:nvSpPr>
        <p:spPr>
          <a:xfrm>
            <a:off x="3270964" y="2713130"/>
            <a:ext cx="1541966" cy="671994"/>
          </a:xfrm>
          <a:prstGeom prst="rect">
            <a:avLst/>
          </a:prstGeom>
          <a:solidFill>
            <a:srgbClr val="003399"/>
          </a:solidFill>
          <a:ln w="57150" cap="flat" cmpd="sng" algn="ctr">
            <a:solidFill>
              <a:srgbClr val="F179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RE IS THE DEMAND UNMET?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Straight Arrow Connector 12">
            <a:extLst>
              <a:ext uri="{FF2B5EF4-FFF2-40B4-BE49-F238E27FC236}">
                <a16:creationId xmlns:a16="http://schemas.microsoft.com/office/drawing/2014/main" id="{F9EBD0B8-EFA1-03C6-B587-0C1ADCDDB0E4}"/>
              </a:ext>
            </a:extLst>
          </p:cNvPr>
          <p:cNvCxnSpPr>
            <a:cxnSpLocks/>
            <a:stCxn id="12" idx="0"/>
            <a:endCxn id="13" idx="1"/>
          </p:cNvCxnSpPr>
          <p:nvPr/>
        </p:nvCxnSpPr>
        <p:spPr>
          <a:xfrm rot="5400000" flipH="1" flipV="1">
            <a:off x="1194277" y="1964011"/>
            <a:ext cx="523579" cy="625454"/>
          </a:xfrm>
          <a:prstGeom prst="bentConnector2">
            <a:avLst/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" name="Straight Arrow Connector 12">
            <a:extLst>
              <a:ext uri="{FF2B5EF4-FFF2-40B4-BE49-F238E27FC236}">
                <a16:creationId xmlns:a16="http://schemas.microsoft.com/office/drawing/2014/main" id="{FB6603A3-0445-69DE-DA50-1D8C12354DC3}"/>
              </a:ext>
            </a:extLst>
          </p:cNvPr>
          <p:cNvCxnSpPr>
            <a:cxnSpLocks/>
            <a:stCxn id="12" idx="2"/>
            <a:endCxn id="14" idx="1"/>
          </p:cNvCxnSpPr>
          <p:nvPr/>
        </p:nvCxnSpPr>
        <p:spPr>
          <a:xfrm rot="16200000" flipH="1">
            <a:off x="1212566" y="3498184"/>
            <a:ext cx="487001" cy="625454"/>
          </a:xfrm>
          <a:prstGeom prst="bentConnector2">
            <a:avLst/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" name="Straight Arrow Connector 12">
            <a:extLst>
              <a:ext uri="{FF2B5EF4-FFF2-40B4-BE49-F238E27FC236}">
                <a16:creationId xmlns:a16="http://schemas.microsoft.com/office/drawing/2014/main" id="{C887D7B4-8DC7-AB61-CDB7-06B99F2CBEF7}"/>
              </a:ext>
            </a:extLst>
          </p:cNvPr>
          <p:cNvCxnSpPr>
            <a:cxnSpLocks/>
            <a:stCxn id="13" idx="2"/>
            <a:endCxn id="15" idx="1"/>
          </p:cNvCxnSpPr>
          <p:nvPr/>
        </p:nvCxnSpPr>
        <p:spPr>
          <a:xfrm rot="16200000" flipH="1">
            <a:off x="2844158" y="2622320"/>
            <a:ext cx="457297" cy="396319"/>
          </a:xfrm>
          <a:prstGeom prst="bentConnector2">
            <a:avLst/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" name="Straight Arrow Connector 12">
            <a:extLst>
              <a:ext uri="{FF2B5EF4-FFF2-40B4-BE49-F238E27FC236}">
                <a16:creationId xmlns:a16="http://schemas.microsoft.com/office/drawing/2014/main" id="{4525E08F-BAB3-6B70-F46E-833B52DD92DE}"/>
              </a:ext>
            </a:extLst>
          </p:cNvPr>
          <p:cNvCxnSpPr>
            <a:cxnSpLocks/>
            <a:stCxn id="14" idx="0"/>
            <a:endCxn id="15" idx="1"/>
          </p:cNvCxnSpPr>
          <p:nvPr/>
        </p:nvCxnSpPr>
        <p:spPr>
          <a:xfrm rot="5400000" flipH="1" flipV="1">
            <a:off x="2858604" y="3065169"/>
            <a:ext cx="428402" cy="396319"/>
          </a:xfrm>
          <a:prstGeom prst="bentConnector2">
            <a:avLst/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7CE436E-F81D-5601-049C-65D06A0DE771}"/>
              </a:ext>
            </a:extLst>
          </p:cNvPr>
          <p:cNvSpPr txBox="1"/>
          <p:nvPr/>
        </p:nvSpPr>
        <p:spPr>
          <a:xfrm>
            <a:off x="5059007" y="4054411"/>
            <a:ext cx="3274251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en-GB" sz="948" dirty="0">
                <a:solidFill>
                  <a:prstClr val="black"/>
                </a:solidFill>
                <a:latin typeface="Arial"/>
              </a:rPr>
              <a:t>Using local tree inventory, we can use a model to infer the thermal regulation they currently provid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0CB344-0527-AA40-C061-C457BB801356}"/>
              </a:ext>
            </a:extLst>
          </p:cNvPr>
          <p:cNvSpPr txBox="1"/>
          <p:nvPr/>
        </p:nvSpPr>
        <p:spPr>
          <a:xfrm>
            <a:off x="5054198" y="4041786"/>
            <a:ext cx="3274251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en-GB" sz="948" dirty="0">
                <a:solidFill>
                  <a:prstClr val="black"/>
                </a:solidFill>
                <a:latin typeface="Arial"/>
              </a:rPr>
              <a:t>We can identify areas where more thermal regulation is need to avoid heat islands</a:t>
            </a:r>
          </a:p>
        </p:txBody>
      </p:sp>
      <p:pic>
        <p:nvPicPr>
          <p:cNvPr id="22" name="Imagen 4">
            <a:extLst>
              <a:ext uri="{FF2B5EF4-FFF2-40B4-BE49-F238E27FC236}">
                <a16:creationId xmlns:a16="http://schemas.microsoft.com/office/drawing/2014/main" id="{B431ED86-D46A-5B64-4F40-0B9A66A881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956" y="158694"/>
            <a:ext cx="930608" cy="194621"/>
          </a:xfrm>
          <a:prstGeom prst="rect">
            <a:avLst/>
          </a:prstGeom>
        </p:spPr>
      </p:pic>
      <p:pic>
        <p:nvPicPr>
          <p:cNvPr id="23" name="Imagen 6">
            <a:extLst>
              <a:ext uri="{FF2B5EF4-FFF2-40B4-BE49-F238E27FC236}">
                <a16:creationId xmlns:a16="http://schemas.microsoft.com/office/drawing/2014/main" id="{A8F2D60E-0745-07E1-1B87-89EB17B4028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6" y="37303"/>
            <a:ext cx="317851" cy="401422"/>
          </a:xfrm>
          <a:prstGeom prst="rect">
            <a:avLst/>
          </a:prstGeom>
        </p:spPr>
      </p:pic>
      <p:pic>
        <p:nvPicPr>
          <p:cNvPr id="24" name="Imagen 7">
            <a:extLst>
              <a:ext uri="{FF2B5EF4-FFF2-40B4-BE49-F238E27FC236}">
                <a16:creationId xmlns:a16="http://schemas.microsoft.com/office/drawing/2014/main" id="{3D61F29A-DB50-9948-AC05-C1105139BE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6068" y="85461"/>
            <a:ext cx="811841" cy="305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715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0" grpId="1"/>
      <p:bldP spid="2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70">
            <a:extLst>
              <a:ext uri="{FF2B5EF4-FFF2-40B4-BE49-F238E27FC236}">
                <a16:creationId xmlns:a16="http://schemas.microsoft.com/office/drawing/2014/main" id="{AB8C127E-58F5-B36E-F054-DC3BC24A3CC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6555" y="1803708"/>
            <a:ext cx="2631242" cy="2383919"/>
          </a:xfrm>
          <a:prstGeom prst="rect">
            <a:avLst/>
          </a:prstGeom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A296BAED-F27C-CCFF-26F1-8A99C9067042}"/>
              </a:ext>
            </a:extLst>
          </p:cNvPr>
          <p:cNvSpPr/>
          <p:nvPr/>
        </p:nvSpPr>
        <p:spPr>
          <a:xfrm>
            <a:off x="4248848" y="2393133"/>
            <a:ext cx="776023" cy="911878"/>
          </a:xfrm>
          <a:prstGeom prst="ellipse">
            <a:avLst/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>
            <a:softEdge rad="317500"/>
          </a:effectLst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4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1FEADC6E-734D-5F47-C3DE-71067F3E05BA}"/>
              </a:ext>
            </a:extLst>
          </p:cNvPr>
          <p:cNvSpPr/>
          <p:nvPr/>
        </p:nvSpPr>
        <p:spPr>
          <a:xfrm>
            <a:off x="3950804" y="2643515"/>
            <a:ext cx="776023" cy="911878"/>
          </a:xfrm>
          <a:prstGeom prst="ellipse">
            <a:avLst/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>
            <a:softEdge rad="317500"/>
          </a:effectLst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4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E75C172-1F66-6EF3-6D4F-A1FC7D5BF846}"/>
              </a:ext>
            </a:extLst>
          </p:cNvPr>
          <p:cNvSpPr/>
          <p:nvPr/>
        </p:nvSpPr>
        <p:spPr>
          <a:xfrm>
            <a:off x="3860835" y="2364954"/>
            <a:ext cx="776023" cy="911878"/>
          </a:xfrm>
          <a:prstGeom prst="ellipse">
            <a:avLst/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>
            <a:softEdge rad="317500"/>
          </a:effectLst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4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EEE150CB-A936-3E14-8E5A-87B6C8CE220B}"/>
              </a:ext>
            </a:extLst>
          </p:cNvPr>
          <p:cNvSpPr/>
          <p:nvPr/>
        </p:nvSpPr>
        <p:spPr>
          <a:xfrm>
            <a:off x="4194933" y="3089627"/>
            <a:ext cx="776023" cy="911878"/>
          </a:xfrm>
          <a:prstGeom prst="ellipse">
            <a:avLst/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>
            <a:softEdge rad="317500"/>
          </a:effectLst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4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91789F06-5446-90E2-9C86-7C22BEF543AC}"/>
              </a:ext>
            </a:extLst>
          </p:cNvPr>
          <p:cNvSpPr/>
          <p:nvPr/>
        </p:nvSpPr>
        <p:spPr>
          <a:xfrm>
            <a:off x="4145134" y="3204897"/>
            <a:ext cx="776023" cy="911878"/>
          </a:xfrm>
          <a:prstGeom prst="ellipse">
            <a:avLst/>
          </a:prstGeom>
          <a:solidFill>
            <a:srgbClr val="142A63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>
            <a:softEdge rad="317500"/>
          </a:effectLst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4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Title 28">
            <a:extLst>
              <a:ext uri="{FF2B5EF4-FFF2-40B4-BE49-F238E27FC236}">
                <a16:creationId xmlns:a16="http://schemas.microsoft.com/office/drawing/2014/main" id="{AE00578F-D500-6E19-BE0A-4AD177282025}"/>
              </a:ext>
            </a:extLst>
          </p:cNvPr>
          <p:cNvSpPr txBox="1">
            <a:spLocks/>
          </p:cNvSpPr>
          <p:nvPr/>
        </p:nvSpPr>
        <p:spPr>
          <a:xfrm>
            <a:off x="810000" y="310500"/>
            <a:ext cx="7290000" cy="945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17220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Integrating the demand into urban planning</a:t>
            </a:r>
            <a:endParaRPr kumimoji="0" lang="en-GB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78" name="Footer Placeholder 2">
            <a:extLst>
              <a:ext uri="{FF2B5EF4-FFF2-40B4-BE49-F238E27FC236}">
                <a16:creationId xmlns:a16="http://schemas.microsoft.com/office/drawing/2014/main" id="{8265A559-BC7C-E09C-0FB0-19B72B81DA6A}"/>
              </a:ext>
            </a:extLst>
          </p:cNvPr>
          <p:cNvSpPr txBox="1">
            <a:spLocks/>
          </p:cNvSpPr>
          <p:nvPr/>
        </p:nvSpPr>
        <p:spPr>
          <a:xfrm>
            <a:off x="1514250" y="4631175"/>
            <a:ext cx="36450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8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PON GILL</a:t>
            </a:r>
            <a:endParaRPr kumimoji="0" lang="da-DK" sz="10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9" name="Slide Number Placeholder 3">
            <a:extLst>
              <a:ext uri="{FF2B5EF4-FFF2-40B4-BE49-F238E27FC236}">
                <a16:creationId xmlns:a16="http://schemas.microsoft.com/office/drawing/2014/main" id="{C1B8D4B5-361D-60A1-C7EB-45227308F2FB}"/>
              </a:ext>
            </a:extLst>
          </p:cNvPr>
          <p:cNvSpPr txBox="1">
            <a:spLocks/>
          </p:cNvSpPr>
          <p:nvPr/>
        </p:nvSpPr>
        <p:spPr>
          <a:xfrm>
            <a:off x="530100" y="4631175"/>
            <a:ext cx="3159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B7C27-3FE4-4A2D-B806-6F5728E302F6}" type="slidenum">
              <a:rPr kumimoji="0" lang="da-DK" sz="10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a-DK" sz="108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id="{42A31828-A902-DB09-866C-8E3A216FAFBC}"/>
              </a:ext>
            </a:extLst>
          </p:cNvPr>
          <p:cNvSpPr txBox="1">
            <a:spLocks/>
          </p:cNvSpPr>
          <p:nvPr/>
        </p:nvSpPr>
        <p:spPr>
          <a:xfrm>
            <a:off x="1291500" y="907877"/>
            <a:ext cx="6561000" cy="850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400"/>
              </a:lnSpc>
              <a:spcBef>
                <a:spcPct val="0"/>
              </a:spcBef>
              <a:buNone/>
              <a:defRPr sz="3800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HR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6A93702-01B7-145C-0ABE-00EA230C6055}"/>
              </a:ext>
            </a:extLst>
          </p:cNvPr>
          <p:cNvSpPr/>
          <p:nvPr/>
        </p:nvSpPr>
        <p:spPr>
          <a:xfrm>
            <a:off x="2520012" y="1333127"/>
            <a:ext cx="3021539" cy="393490"/>
          </a:xfrm>
          <a:prstGeom prst="rect">
            <a:avLst/>
          </a:prstGeom>
          <a:solidFill>
            <a:srgbClr val="003399"/>
          </a:solidFill>
          <a:ln w="12700" cap="flat" cmpd="sng" algn="ctr">
            <a:solidFill>
              <a:srgbClr val="00339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8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YPE(S) OF GI CAN BE DEVELOPPED?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1BF7B51-1F23-B6CC-201D-30A077B18BB5}"/>
              </a:ext>
            </a:extLst>
          </p:cNvPr>
          <p:cNvSpPr/>
          <p:nvPr/>
        </p:nvSpPr>
        <p:spPr>
          <a:xfrm>
            <a:off x="2477748" y="4192355"/>
            <a:ext cx="3106066" cy="393490"/>
          </a:xfrm>
          <a:prstGeom prst="rect">
            <a:avLst/>
          </a:prstGeom>
          <a:solidFill>
            <a:srgbClr val="003399"/>
          </a:solidFill>
          <a:ln w="12700" cap="flat" cmpd="sng" algn="ctr">
            <a:solidFill>
              <a:srgbClr val="00339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8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RE</a:t>
            </a: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 GI REALISTICALLY BE DEVELOPPED?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4A499F9-9F99-9FC4-3AB3-46F019C4C89C}"/>
              </a:ext>
            </a:extLst>
          </p:cNvPr>
          <p:cNvSpPr/>
          <p:nvPr/>
        </p:nvSpPr>
        <p:spPr>
          <a:xfrm>
            <a:off x="6880218" y="2553344"/>
            <a:ext cx="1357884" cy="576883"/>
          </a:xfrm>
          <a:prstGeom prst="rect">
            <a:avLst/>
          </a:prstGeom>
          <a:solidFill>
            <a:srgbClr val="003399"/>
          </a:solidFill>
          <a:ln w="12700" cap="flat" cmpd="sng" algn="ctr">
            <a:solidFill>
              <a:srgbClr val="00339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 URBAN PLANNING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4" name="Straight Arrow Connector 12">
            <a:extLst>
              <a:ext uri="{FF2B5EF4-FFF2-40B4-BE49-F238E27FC236}">
                <a16:creationId xmlns:a16="http://schemas.microsoft.com/office/drawing/2014/main" id="{5CD4A3D5-EC1B-C24F-A44C-9B8C1D18792B}"/>
              </a:ext>
            </a:extLst>
          </p:cNvPr>
          <p:cNvCxnSpPr>
            <a:cxnSpLocks/>
            <a:stCxn id="89" idx="3"/>
            <a:endCxn id="81" idx="1"/>
          </p:cNvCxnSpPr>
          <p:nvPr/>
        </p:nvCxnSpPr>
        <p:spPr>
          <a:xfrm flipV="1">
            <a:off x="2149810" y="1529873"/>
            <a:ext cx="370202" cy="1451940"/>
          </a:xfrm>
          <a:prstGeom prst="bentConnector3">
            <a:avLst>
              <a:gd name="adj1" fmla="val 31243"/>
            </a:avLst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5" name="Straight Arrow Connector 12">
            <a:extLst>
              <a:ext uri="{FF2B5EF4-FFF2-40B4-BE49-F238E27FC236}">
                <a16:creationId xmlns:a16="http://schemas.microsoft.com/office/drawing/2014/main" id="{497A4E50-55A0-6F08-D65A-AD83C7C72D82}"/>
              </a:ext>
            </a:extLst>
          </p:cNvPr>
          <p:cNvCxnSpPr>
            <a:cxnSpLocks/>
            <a:stCxn id="89" idx="3"/>
            <a:endCxn id="82" idx="1"/>
          </p:cNvCxnSpPr>
          <p:nvPr/>
        </p:nvCxnSpPr>
        <p:spPr>
          <a:xfrm>
            <a:off x="2149810" y="2981813"/>
            <a:ext cx="327938" cy="1407288"/>
          </a:xfrm>
          <a:prstGeom prst="bentConnector3">
            <a:avLst>
              <a:gd name="adj1" fmla="val 33532"/>
            </a:avLst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6" name="Straight Arrow Connector 12">
            <a:extLst>
              <a:ext uri="{FF2B5EF4-FFF2-40B4-BE49-F238E27FC236}">
                <a16:creationId xmlns:a16="http://schemas.microsoft.com/office/drawing/2014/main" id="{0C07F75C-38B2-4DF5-CEE7-C3A231EE6199}"/>
              </a:ext>
            </a:extLst>
          </p:cNvPr>
          <p:cNvCxnSpPr>
            <a:cxnSpLocks/>
            <a:stCxn id="81" idx="3"/>
            <a:endCxn id="83" idx="1"/>
          </p:cNvCxnSpPr>
          <p:nvPr/>
        </p:nvCxnSpPr>
        <p:spPr>
          <a:xfrm>
            <a:off x="5541550" y="1529873"/>
            <a:ext cx="1338669" cy="1311913"/>
          </a:xfrm>
          <a:prstGeom prst="bentConnector3">
            <a:avLst>
              <a:gd name="adj1" fmla="val 50000"/>
            </a:avLst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7" name="Straight Arrow Connector 12">
            <a:extLst>
              <a:ext uri="{FF2B5EF4-FFF2-40B4-BE49-F238E27FC236}">
                <a16:creationId xmlns:a16="http://schemas.microsoft.com/office/drawing/2014/main" id="{FAC861BF-6DF5-88CE-3A0C-71399035BA4B}"/>
              </a:ext>
            </a:extLst>
          </p:cNvPr>
          <p:cNvCxnSpPr>
            <a:cxnSpLocks/>
            <a:stCxn id="82" idx="3"/>
            <a:endCxn id="83" idx="1"/>
          </p:cNvCxnSpPr>
          <p:nvPr/>
        </p:nvCxnSpPr>
        <p:spPr>
          <a:xfrm flipV="1">
            <a:off x="5583814" y="2841786"/>
            <a:ext cx="1296406" cy="1547315"/>
          </a:xfrm>
          <a:prstGeom prst="bentConnector3">
            <a:avLst>
              <a:gd name="adj1" fmla="val 48677"/>
            </a:avLst>
          </a:prstGeom>
          <a:noFill/>
          <a:ln w="57150" cap="flat" cmpd="sng" algn="ctr">
            <a:solidFill>
              <a:srgbClr val="003399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B7FFBE25-AF76-F3A8-ACE4-FB2688A6476A}"/>
              </a:ext>
            </a:extLst>
          </p:cNvPr>
          <p:cNvSpPr txBox="1"/>
          <p:nvPr/>
        </p:nvSpPr>
        <p:spPr>
          <a:xfrm>
            <a:off x="6984302" y="3219831"/>
            <a:ext cx="1702499" cy="11103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2882" indent="-192882" defTabSz="713232">
              <a:buFont typeface="Arial" panose="020B0604020202020204" pitchFamily="34" charset="0"/>
              <a:buChar char="•"/>
            </a:pPr>
            <a:r>
              <a:rPr lang="nl-NL" sz="945" dirty="0" err="1">
                <a:solidFill>
                  <a:prstClr val="black"/>
                </a:solidFill>
                <a:latin typeface="Arial"/>
              </a:rPr>
              <a:t>Inform</a:t>
            </a:r>
            <a:r>
              <a:rPr lang="nl-NL" sz="945" dirty="0">
                <a:solidFill>
                  <a:prstClr val="black"/>
                </a:solidFill>
                <a:latin typeface="Arial"/>
              </a:rPr>
              <a:t> Nature </a:t>
            </a:r>
            <a:r>
              <a:rPr lang="nl-NL" sz="945" dirty="0" err="1">
                <a:solidFill>
                  <a:prstClr val="black"/>
                </a:solidFill>
                <a:latin typeface="Arial"/>
              </a:rPr>
              <a:t>Restoration</a:t>
            </a:r>
            <a:r>
              <a:rPr lang="nl-NL" sz="945" dirty="0">
                <a:solidFill>
                  <a:prstClr val="black"/>
                </a:solidFill>
                <a:latin typeface="Arial"/>
              </a:rPr>
              <a:t> effort in </a:t>
            </a:r>
            <a:r>
              <a:rPr lang="nl-NL" sz="945" dirty="0" err="1">
                <a:solidFill>
                  <a:prstClr val="black"/>
                </a:solidFill>
                <a:latin typeface="Arial"/>
              </a:rPr>
              <a:t>urban</a:t>
            </a:r>
            <a:r>
              <a:rPr lang="nl-NL" sz="945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5" dirty="0" err="1">
                <a:solidFill>
                  <a:prstClr val="black"/>
                </a:solidFill>
                <a:latin typeface="Arial"/>
              </a:rPr>
              <a:t>ecosystems</a:t>
            </a:r>
            <a:r>
              <a:rPr lang="nl-NL" sz="945" dirty="0">
                <a:solidFill>
                  <a:prstClr val="black"/>
                </a:solidFill>
                <a:latin typeface="Arial"/>
              </a:rPr>
              <a:t> (art.8 NRL)</a:t>
            </a:r>
          </a:p>
          <a:p>
            <a:pPr marL="192882" indent="-192882" defTabSz="713232">
              <a:buFont typeface="Arial" panose="020B0604020202020204" pitchFamily="34" charset="0"/>
              <a:buChar char="•"/>
            </a:pPr>
            <a:r>
              <a:rPr lang="nl-NL" sz="945" dirty="0">
                <a:solidFill>
                  <a:prstClr val="black"/>
                </a:solidFill>
                <a:latin typeface="Arial"/>
              </a:rPr>
              <a:t>Form </a:t>
            </a:r>
            <a:r>
              <a:rPr lang="nl-NL" sz="945" dirty="0" err="1">
                <a:solidFill>
                  <a:prstClr val="black"/>
                </a:solidFill>
                <a:latin typeface="Arial"/>
              </a:rPr>
              <a:t>the</a:t>
            </a:r>
            <a:r>
              <a:rPr lang="nl-NL" sz="945" dirty="0">
                <a:solidFill>
                  <a:prstClr val="black"/>
                </a:solidFill>
                <a:latin typeface="Arial"/>
              </a:rPr>
              <a:t> basis of </a:t>
            </a:r>
            <a:r>
              <a:rPr lang="nl-NL" sz="945" dirty="0" err="1">
                <a:solidFill>
                  <a:prstClr val="black"/>
                </a:solidFill>
                <a:latin typeface="Arial"/>
              </a:rPr>
              <a:t>urban</a:t>
            </a:r>
            <a:r>
              <a:rPr lang="nl-NL" sz="945" dirty="0">
                <a:solidFill>
                  <a:prstClr val="black"/>
                </a:solidFill>
                <a:latin typeface="Arial"/>
              </a:rPr>
              <a:t> nature plan</a:t>
            </a:r>
          </a:p>
          <a:p>
            <a:pPr marL="192882" indent="-192882" defTabSz="713232">
              <a:buFont typeface="Arial" panose="020B0604020202020204" pitchFamily="34" charset="0"/>
              <a:buChar char="•"/>
            </a:pPr>
            <a:r>
              <a:rPr lang="nl-NL" sz="945" dirty="0">
                <a:solidFill>
                  <a:prstClr val="black"/>
                </a:solidFill>
                <a:latin typeface="Arial"/>
              </a:rPr>
              <a:t>Support </a:t>
            </a:r>
            <a:r>
              <a:rPr lang="nl-NL" sz="945" dirty="0" err="1">
                <a:solidFill>
                  <a:prstClr val="black"/>
                </a:solidFill>
                <a:latin typeface="Arial"/>
              </a:rPr>
              <a:t>funding</a:t>
            </a:r>
            <a:r>
              <a:rPr lang="nl-NL" sz="945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5" dirty="0" err="1">
                <a:solidFill>
                  <a:prstClr val="black"/>
                </a:solidFill>
                <a:latin typeface="Arial"/>
              </a:rPr>
              <a:t>request</a:t>
            </a:r>
            <a:endParaRPr lang="en-GB" sz="945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1F91BAD-4AA9-484D-F3B6-BEBAF04E424F}"/>
              </a:ext>
            </a:extLst>
          </p:cNvPr>
          <p:cNvSpPr/>
          <p:nvPr/>
        </p:nvSpPr>
        <p:spPr>
          <a:xfrm>
            <a:off x="607843" y="2645816"/>
            <a:ext cx="1541966" cy="671994"/>
          </a:xfrm>
          <a:prstGeom prst="rect">
            <a:avLst/>
          </a:prstGeom>
          <a:solidFill>
            <a:srgbClr val="003399"/>
          </a:solidFill>
          <a:ln w="57150" cap="flat" cmpd="sng" algn="ctr">
            <a:solidFill>
              <a:srgbClr val="F179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8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RE IS THE DEMAND UNMET?</a:t>
            </a:r>
            <a:endParaRPr kumimoji="0" lang="en-GB" sz="10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35E4203-09D2-0357-048D-753626531FAB}"/>
              </a:ext>
            </a:extLst>
          </p:cNvPr>
          <p:cNvSpPr txBox="1"/>
          <p:nvPr/>
        </p:nvSpPr>
        <p:spPr>
          <a:xfrm>
            <a:off x="4981993" y="1083829"/>
            <a:ext cx="2677496" cy="238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nl-NL" sz="948" i="1" dirty="0">
                <a:solidFill>
                  <a:prstClr val="black"/>
                </a:solidFill>
                <a:latin typeface="Arial"/>
              </a:rPr>
              <a:t>Different GI </a:t>
            </a:r>
            <a:r>
              <a:rPr lang="nl-NL" sz="948" i="1" dirty="0" err="1">
                <a:solidFill>
                  <a:prstClr val="black"/>
                </a:solidFill>
                <a:latin typeface="Arial"/>
              </a:rPr>
              <a:t>for</a:t>
            </a:r>
            <a:r>
              <a:rPr lang="nl-NL" sz="948" i="1" dirty="0">
                <a:solidFill>
                  <a:prstClr val="black"/>
                </a:solidFill>
                <a:latin typeface="Arial"/>
              </a:rPr>
              <a:t> different ESS </a:t>
            </a:r>
            <a:r>
              <a:rPr lang="nl-NL" sz="948" i="1" dirty="0" err="1">
                <a:solidFill>
                  <a:prstClr val="black"/>
                </a:solidFill>
                <a:latin typeface="Arial"/>
              </a:rPr>
              <a:t>needs</a:t>
            </a:r>
            <a:endParaRPr lang="en-GB" sz="948" i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D90FAE-5AED-97C0-10F3-4854FD1FA0BE}"/>
              </a:ext>
            </a:extLst>
          </p:cNvPr>
          <p:cNvSpPr txBox="1"/>
          <p:nvPr/>
        </p:nvSpPr>
        <p:spPr>
          <a:xfrm>
            <a:off x="5069705" y="4579169"/>
            <a:ext cx="2677496" cy="238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nl-NL" sz="948" i="1" dirty="0" err="1">
                <a:solidFill>
                  <a:prstClr val="black"/>
                </a:solidFill>
                <a:latin typeface="Arial"/>
              </a:rPr>
              <a:t>Not</a:t>
            </a:r>
            <a:r>
              <a:rPr lang="nl-NL" sz="948" i="1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i="1" dirty="0" err="1">
                <a:solidFill>
                  <a:prstClr val="black"/>
                </a:solidFill>
                <a:latin typeface="Arial"/>
              </a:rPr>
              <a:t>possible</a:t>
            </a:r>
            <a:r>
              <a:rPr lang="nl-NL" sz="948" i="1" dirty="0">
                <a:solidFill>
                  <a:prstClr val="black"/>
                </a:solidFill>
                <a:latin typeface="Arial"/>
              </a:rPr>
              <a:t> in </a:t>
            </a:r>
            <a:r>
              <a:rPr lang="nl-NL" sz="948" i="1" dirty="0" err="1">
                <a:solidFill>
                  <a:prstClr val="black"/>
                </a:solidFill>
                <a:latin typeface="Arial"/>
              </a:rPr>
              <a:t>all</a:t>
            </a:r>
            <a:r>
              <a:rPr lang="nl-NL" sz="948" i="1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i="1" dirty="0" err="1">
                <a:solidFill>
                  <a:prstClr val="black"/>
                </a:solidFill>
                <a:latin typeface="Arial"/>
              </a:rPr>
              <a:t>areas</a:t>
            </a:r>
            <a:endParaRPr lang="en-GB" sz="948" i="1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51C3616-8F45-CC39-EDF5-B65AD1D69367}"/>
              </a:ext>
            </a:extLst>
          </p:cNvPr>
          <p:cNvGrpSpPr/>
          <p:nvPr/>
        </p:nvGrpSpPr>
        <p:grpSpPr>
          <a:xfrm>
            <a:off x="4479907" y="3349750"/>
            <a:ext cx="327833" cy="371846"/>
            <a:chOff x="10452931" y="1088550"/>
            <a:chExt cx="1474437" cy="1572253"/>
          </a:xfrm>
        </p:grpSpPr>
        <p:pic>
          <p:nvPicPr>
            <p:cNvPr id="93" name="Graphic 92" descr="Deciduous tree with solid fill">
              <a:extLst>
                <a:ext uri="{FF2B5EF4-FFF2-40B4-BE49-F238E27FC236}">
                  <a16:creationId xmlns:a16="http://schemas.microsoft.com/office/drawing/2014/main" id="{F05A4B0D-8B63-4FAE-D8A4-40DF3C3D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12968" y="1309603"/>
              <a:ext cx="914400" cy="914400"/>
            </a:xfrm>
            <a:prstGeom prst="rect">
              <a:avLst/>
            </a:prstGeom>
          </p:spPr>
        </p:pic>
        <p:pic>
          <p:nvPicPr>
            <p:cNvPr id="94" name="Graphic 93" descr="Deciduous tree with solid fill">
              <a:extLst>
                <a:ext uri="{FF2B5EF4-FFF2-40B4-BE49-F238E27FC236}">
                  <a16:creationId xmlns:a16="http://schemas.microsoft.com/office/drawing/2014/main" id="{4773F837-0BD4-7C78-238B-4D59E3305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67472" y="1594003"/>
              <a:ext cx="914400" cy="914400"/>
            </a:xfrm>
            <a:prstGeom prst="rect">
              <a:avLst/>
            </a:prstGeom>
          </p:spPr>
        </p:pic>
        <p:pic>
          <p:nvPicPr>
            <p:cNvPr id="95" name="Graphic 94" descr="Deciduous tree with solid fill">
              <a:extLst>
                <a:ext uri="{FF2B5EF4-FFF2-40B4-BE49-F238E27FC236}">
                  <a16:creationId xmlns:a16="http://schemas.microsoft.com/office/drawing/2014/main" id="{846CD892-0505-71DF-8E9E-FD4C453B00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462837" y="1088550"/>
              <a:ext cx="914400" cy="914400"/>
            </a:xfrm>
            <a:prstGeom prst="rect">
              <a:avLst/>
            </a:prstGeom>
          </p:spPr>
        </p:pic>
        <p:pic>
          <p:nvPicPr>
            <p:cNvPr id="96" name="Graphic 95" descr="Deciduous tree with solid fill">
              <a:extLst>
                <a:ext uri="{FF2B5EF4-FFF2-40B4-BE49-F238E27FC236}">
                  <a16:creationId xmlns:a16="http://schemas.microsoft.com/office/drawing/2014/main" id="{256FF41E-D806-EA7A-6A17-D0EBA604F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452931" y="1746403"/>
              <a:ext cx="914400" cy="914400"/>
            </a:xfrm>
            <a:prstGeom prst="rect">
              <a:avLst/>
            </a:prstGeom>
          </p:spPr>
        </p:pic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BCAF11D8-68A5-36B5-52D3-B885C16E7560}"/>
              </a:ext>
            </a:extLst>
          </p:cNvPr>
          <p:cNvGrpSpPr/>
          <p:nvPr/>
        </p:nvGrpSpPr>
        <p:grpSpPr>
          <a:xfrm>
            <a:off x="4235712" y="2889254"/>
            <a:ext cx="287148" cy="608596"/>
            <a:chOff x="5597794" y="3899376"/>
            <a:chExt cx="425404" cy="901624"/>
          </a:xfrm>
        </p:grpSpPr>
        <p:pic>
          <p:nvPicPr>
            <p:cNvPr id="98" name="Graphic 97" descr="Deciduous tree with solid fill">
              <a:extLst>
                <a:ext uri="{FF2B5EF4-FFF2-40B4-BE49-F238E27FC236}">
                  <a16:creationId xmlns:a16="http://schemas.microsoft.com/office/drawing/2014/main" id="{3C98D9FA-F55A-94CE-8062-A48AFD32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97794" y="3899376"/>
              <a:ext cx="301202" cy="320385"/>
            </a:xfrm>
            <a:prstGeom prst="rect">
              <a:avLst/>
            </a:prstGeom>
          </p:spPr>
        </p:pic>
        <p:pic>
          <p:nvPicPr>
            <p:cNvPr id="99" name="Graphic 98" descr="Deciduous tree with solid fill">
              <a:extLst>
                <a:ext uri="{FF2B5EF4-FFF2-40B4-BE49-F238E27FC236}">
                  <a16:creationId xmlns:a16="http://schemas.microsoft.com/office/drawing/2014/main" id="{58820FFA-E709-A852-C4D0-7E111124D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58364" y="4134947"/>
              <a:ext cx="301202" cy="320385"/>
            </a:xfrm>
            <a:prstGeom prst="rect">
              <a:avLst/>
            </a:prstGeom>
          </p:spPr>
        </p:pic>
        <p:pic>
          <p:nvPicPr>
            <p:cNvPr id="100" name="Graphic 99" descr="Deciduous tree with solid fill">
              <a:extLst>
                <a:ext uri="{FF2B5EF4-FFF2-40B4-BE49-F238E27FC236}">
                  <a16:creationId xmlns:a16="http://schemas.microsoft.com/office/drawing/2014/main" id="{47C45FD0-420D-87BA-C6EE-789A8443B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84054" y="4328718"/>
              <a:ext cx="301202" cy="320385"/>
            </a:xfrm>
            <a:prstGeom prst="rect">
              <a:avLst/>
            </a:prstGeom>
          </p:spPr>
        </p:pic>
        <p:pic>
          <p:nvPicPr>
            <p:cNvPr id="101" name="Graphic 100" descr="Deciduous tree with solid fill">
              <a:extLst>
                <a:ext uri="{FF2B5EF4-FFF2-40B4-BE49-F238E27FC236}">
                  <a16:creationId xmlns:a16="http://schemas.microsoft.com/office/drawing/2014/main" id="{213B65A8-FF66-0385-A05C-3FD84BEF4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21996" y="4480615"/>
              <a:ext cx="301202" cy="320385"/>
            </a:xfrm>
            <a:prstGeom prst="rect">
              <a:avLst/>
            </a:prstGeom>
          </p:spPr>
        </p:pic>
      </p:grpSp>
      <p:pic>
        <p:nvPicPr>
          <p:cNvPr id="102" name="Imagen 4">
            <a:extLst>
              <a:ext uri="{FF2B5EF4-FFF2-40B4-BE49-F238E27FC236}">
                <a16:creationId xmlns:a16="http://schemas.microsoft.com/office/drawing/2014/main" id="{87FD710D-128C-65AD-2A51-DB8B3839E0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956" y="158693"/>
            <a:ext cx="930608" cy="194621"/>
          </a:xfrm>
          <a:prstGeom prst="rect">
            <a:avLst/>
          </a:prstGeom>
        </p:spPr>
      </p:pic>
      <p:pic>
        <p:nvPicPr>
          <p:cNvPr id="103" name="Imagen 6">
            <a:extLst>
              <a:ext uri="{FF2B5EF4-FFF2-40B4-BE49-F238E27FC236}">
                <a16:creationId xmlns:a16="http://schemas.microsoft.com/office/drawing/2014/main" id="{194B9C26-A73F-F488-48AE-0459695B8C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5" y="37303"/>
            <a:ext cx="317851" cy="401422"/>
          </a:xfrm>
          <a:prstGeom prst="rect">
            <a:avLst/>
          </a:prstGeom>
        </p:spPr>
      </p:pic>
      <p:pic>
        <p:nvPicPr>
          <p:cNvPr id="104" name="Imagen 7">
            <a:extLst>
              <a:ext uri="{FF2B5EF4-FFF2-40B4-BE49-F238E27FC236}">
                <a16:creationId xmlns:a16="http://schemas.microsoft.com/office/drawing/2014/main" id="{7C39E79B-F165-613C-6B64-E7C3C9E411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6068" y="85461"/>
            <a:ext cx="811841" cy="305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01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FBFB1B-667B-7F5C-07EE-D07EB02E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5B7C27-3FE4-4A2D-B806-6F5728E302F6}" type="slidenum">
              <a:rPr lang="da-DK" smtClean="0"/>
              <a:pPr/>
              <a:t>26</a:t>
            </a:fld>
            <a:endParaRPr lang="da-DK"/>
          </a:p>
        </p:txBody>
      </p:sp>
      <p:pic>
        <p:nvPicPr>
          <p:cNvPr id="5" name="Imagen 6">
            <a:extLst>
              <a:ext uri="{FF2B5EF4-FFF2-40B4-BE49-F238E27FC236}">
                <a16:creationId xmlns:a16="http://schemas.microsoft.com/office/drawing/2014/main" id="{1537C037-2776-35F2-323B-968128C45D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3891" y="2191088"/>
            <a:ext cx="1127592" cy="235815"/>
          </a:xfrm>
          <a:prstGeom prst="rect">
            <a:avLst/>
          </a:prstGeom>
        </p:spPr>
      </p:pic>
      <p:pic>
        <p:nvPicPr>
          <p:cNvPr id="6" name="Imagen 7">
            <a:extLst>
              <a:ext uri="{FF2B5EF4-FFF2-40B4-BE49-F238E27FC236}">
                <a16:creationId xmlns:a16="http://schemas.microsoft.com/office/drawing/2014/main" id="{2A6D8961-34C0-9097-38DE-175D1414B5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3371" y="3185523"/>
            <a:ext cx="439070" cy="554512"/>
          </a:xfrm>
          <a:prstGeom prst="rect">
            <a:avLst/>
          </a:prstGeom>
        </p:spPr>
      </p:pic>
      <p:pic>
        <p:nvPicPr>
          <p:cNvPr id="7" name="Imagen 7">
            <a:extLst>
              <a:ext uri="{FF2B5EF4-FFF2-40B4-BE49-F238E27FC236}">
                <a16:creationId xmlns:a16="http://schemas.microsoft.com/office/drawing/2014/main" id="{923495CC-76F6-6479-9911-0AC5C428D0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14251" y="2649721"/>
            <a:ext cx="811490" cy="305104"/>
          </a:xfrm>
          <a:prstGeom prst="rect">
            <a:avLst/>
          </a:prstGeom>
          <a:noFill/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3181294-74BF-800A-CDE8-0138F6E71C3C}"/>
              </a:ext>
            </a:extLst>
          </p:cNvPr>
          <p:cNvGrpSpPr>
            <a:grpSpLocks noChangeAspect="1"/>
          </p:cNvGrpSpPr>
          <p:nvPr/>
        </p:nvGrpSpPr>
        <p:grpSpPr>
          <a:xfrm>
            <a:off x="5335223" y="1598359"/>
            <a:ext cx="3316496" cy="3062333"/>
            <a:chOff x="4981559" y="742293"/>
            <a:chExt cx="7210441" cy="6657858"/>
          </a:xfrm>
          <a:solidFill>
            <a:srgbClr val="E3E3E3"/>
          </a:solidFill>
        </p:grpSpPr>
        <p:sp>
          <p:nvSpPr>
            <p:cNvPr id="9" name="Freeform 33">
              <a:extLst>
                <a:ext uri="{FF2B5EF4-FFF2-40B4-BE49-F238E27FC236}">
                  <a16:creationId xmlns:a16="http://schemas.microsoft.com/office/drawing/2014/main" id="{F0843C78-FCCE-2486-202B-BB70F5076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3909" y="4972250"/>
              <a:ext cx="1647356" cy="1507750"/>
            </a:xfrm>
            <a:custGeom>
              <a:avLst/>
              <a:gdLst>
                <a:gd name="T0" fmla="*/ 1121 w 1180"/>
                <a:gd name="T1" fmla="*/ 728 h 1080"/>
                <a:gd name="T2" fmla="*/ 1003 w 1180"/>
                <a:gd name="T3" fmla="*/ 672 h 1080"/>
                <a:gd name="T4" fmla="*/ 935 w 1180"/>
                <a:gd name="T5" fmla="*/ 616 h 1080"/>
                <a:gd name="T6" fmla="*/ 902 w 1180"/>
                <a:gd name="T7" fmla="*/ 584 h 1080"/>
                <a:gd name="T8" fmla="*/ 817 w 1180"/>
                <a:gd name="T9" fmla="*/ 592 h 1080"/>
                <a:gd name="T10" fmla="*/ 733 w 1180"/>
                <a:gd name="T11" fmla="*/ 528 h 1080"/>
                <a:gd name="T12" fmla="*/ 683 w 1180"/>
                <a:gd name="T13" fmla="*/ 448 h 1080"/>
                <a:gd name="T14" fmla="*/ 556 w 1180"/>
                <a:gd name="T15" fmla="*/ 344 h 1080"/>
                <a:gd name="T16" fmla="*/ 523 w 1180"/>
                <a:gd name="T17" fmla="*/ 280 h 1080"/>
                <a:gd name="T18" fmla="*/ 548 w 1180"/>
                <a:gd name="T19" fmla="*/ 240 h 1080"/>
                <a:gd name="T20" fmla="*/ 531 w 1180"/>
                <a:gd name="T21" fmla="*/ 216 h 1080"/>
                <a:gd name="T22" fmla="*/ 556 w 1180"/>
                <a:gd name="T23" fmla="*/ 184 h 1080"/>
                <a:gd name="T24" fmla="*/ 649 w 1180"/>
                <a:gd name="T25" fmla="*/ 144 h 1080"/>
                <a:gd name="T26" fmla="*/ 649 w 1180"/>
                <a:gd name="T27" fmla="*/ 56 h 1080"/>
                <a:gd name="T28" fmla="*/ 514 w 1180"/>
                <a:gd name="T29" fmla="*/ 0 h 1080"/>
                <a:gd name="T30" fmla="*/ 405 w 1180"/>
                <a:gd name="T31" fmla="*/ 40 h 1080"/>
                <a:gd name="T32" fmla="*/ 354 w 1180"/>
                <a:gd name="T33" fmla="*/ 64 h 1080"/>
                <a:gd name="T34" fmla="*/ 295 w 1180"/>
                <a:gd name="T35" fmla="*/ 80 h 1080"/>
                <a:gd name="T36" fmla="*/ 228 w 1180"/>
                <a:gd name="T37" fmla="*/ 152 h 1080"/>
                <a:gd name="T38" fmla="*/ 118 w 1180"/>
                <a:gd name="T39" fmla="*/ 136 h 1080"/>
                <a:gd name="T40" fmla="*/ 42 w 1180"/>
                <a:gd name="T41" fmla="*/ 208 h 1080"/>
                <a:gd name="T42" fmla="*/ 25 w 1180"/>
                <a:gd name="T43" fmla="*/ 272 h 1080"/>
                <a:gd name="T44" fmla="*/ 93 w 1180"/>
                <a:gd name="T45" fmla="*/ 352 h 1080"/>
                <a:gd name="T46" fmla="*/ 93 w 1180"/>
                <a:gd name="T47" fmla="*/ 392 h 1080"/>
                <a:gd name="T48" fmla="*/ 160 w 1180"/>
                <a:gd name="T49" fmla="*/ 344 h 1080"/>
                <a:gd name="T50" fmla="*/ 202 w 1180"/>
                <a:gd name="T51" fmla="*/ 320 h 1080"/>
                <a:gd name="T52" fmla="*/ 261 w 1180"/>
                <a:gd name="T53" fmla="*/ 352 h 1080"/>
                <a:gd name="T54" fmla="*/ 312 w 1180"/>
                <a:gd name="T55" fmla="*/ 368 h 1080"/>
                <a:gd name="T56" fmla="*/ 337 w 1180"/>
                <a:gd name="T57" fmla="*/ 424 h 1080"/>
                <a:gd name="T58" fmla="*/ 371 w 1180"/>
                <a:gd name="T59" fmla="*/ 496 h 1080"/>
                <a:gd name="T60" fmla="*/ 430 w 1180"/>
                <a:gd name="T61" fmla="*/ 552 h 1080"/>
                <a:gd name="T62" fmla="*/ 497 w 1180"/>
                <a:gd name="T63" fmla="*/ 592 h 1080"/>
                <a:gd name="T64" fmla="*/ 607 w 1180"/>
                <a:gd name="T65" fmla="*/ 680 h 1080"/>
                <a:gd name="T66" fmla="*/ 649 w 1180"/>
                <a:gd name="T67" fmla="*/ 688 h 1080"/>
                <a:gd name="T68" fmla="*/ 742 w 1180"/>
                <a:gd name="T69" fmla="*/ 744 h 1080"/>
                <a:gd name="T70" fmla="*/ 775 w 1180"/>
                <a:gd name="T71" fmla="*/ 752 h 1080"/>
                <a:gd name="T72" fmla="*/ 809 w 1180"/>
                <a:gd name="T73" fmla="*/ 768 h 1080"/>
                <a:gd name="T74" fmla="*/ 851 w 1180"/>
                <a:gd name="T75" fmla="*/ 824 h 1080"/>
                <a:gd name="T76" fmla="*/ 927 w 1180"/>
                <a:gd name="T77" fmla="*/ 856 h 1080"/>
                <a:gd name="T78" fmla="*/ 978 w 1180"/>
                <a:gd name="T79" fmla="*/ 984 h 1080"/>
                <a:gd name="T80" fmla="*/ 935 w 1180"/>
                <a:gd name="T81" fmla="*/ 1000 h 1080"/>
                <a:gd name="T82" fmla="*/ 927 w 1180"/>
                <a:gd name="T83" fmla="*/ 1040 h 1080"/>
                <a:gd name="T84" fmla="*/ 935 w 1180"/>
                <a:gd name="T85" fmla="*/ 1072 h 1080"/>
                <a:gd name="T86" fmla="*/ 978 w 1180"/>
                <a:gd name="T87" fmla="*/ 1072 h 1080"/>
                <a:gd name="T88" fmla="*/ 1011 w 1180"/>
                <a:gd name="T89" fmla="*/ 1000 h 1080"/>
                <a:gd name="T90" fmla="*/ 1070 w 1180"/>
                <a:gd name="T91" fmla="*/ 952 h 1080"/>
                <a:gd name="T92" fmla="*/ 1053 w 1180"/>
                <a:gd name="T93" fmla="*/ 888 h 1080"/>
                <a:gd name="T94" fmla="*/ 1003 w 1180"/>
                <a:gd name="T95" fmla="*/ 864 h 1080"/>
                <a:gd name="T96" fmla="*/ 1011 w 1180"/>
                <a:gd name="T97" fmla="*/ 800 h 1080"/>
                <a:gd name="T98" fmla="*/ 1045 w 1180"/>
                <a:gd name="T99" fmla="*/ 768 h 1080"/>
                <a:gd name="T100" fmla="*/ 1146 w 1180"/>
                <a:gd name="T101" fmla="*/ 792 h 1080"/>
                <a:gd name="T102" fmla="*/ 1180 w 1180"/>
                <a:gd name="T103" fmla="*/ 784 h 1080"/>
                <a:gd name="T104" fmla="*/ 1155 w 1180"/>
                <a:gd name="T105" fmla="*/ 752 h 108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0" h="1080">
                  <a:moveTo>
                    <a:pt x="1155" y="752"/>
                  </a:moveTo>
                  <a:lnTo>
                    <a:pt x="1121" y="728"/>
                  </a:lnTo>
                  <a:lnTo>
                    <a:pt x="1087" y="712"/>
                  </a:lnTo>
                  <a:lnTo>
                    <a:pt x="1003" y="672"/>
                  </a:lnTo>
                  <a:lnTo>
                    <a:pt x="919" y="632"/>
                  </a:lnTo>
                  <a:lnTo>
                    <a:pt x="935" y="616"/>
                  </a:lnTo>
                  <a:lnTo>
                    <a:pt x="927" y="600"/>
                  </a:lnTo>
                  <a:lnTo>
                    <a:pt x="902" y="584"/>
                  </a:lnTo>
                  <a:lnTo>
                    <a:pt x="868" y="592"/>
                  </a:lnTo>
                  <a:lnTo>
                    <a:pt x="817" y="592"/>
                  </a:lnTo>
                  <a:lnTo>
                    <a:pt x="775" y="568"/>
                  </a:lnTo>
                  <a:lnTo>
                    <a:pt x="733" y="528"/>
                  </a:lnTo>
                  <a:lnTo>
                    <a:pt x="708" y="488"/>
                  </a:lnTo>
                  <a:lnTo>
                    <a:pt x="683" y="448"/>
                  </a:lnTo>
                  <a:lnTo>
                    <a:pt x="641" y="408"/>
                  </a:lnTo>
                  <a:lnTo>
                    <a:pt x="556" y="344"/>
                  </a:lnTo>
                  <a:lnTo>
                    <a:pt x="523" y="296"/>
                  </a:lnTo>
                  <a:lnTo>
                    <a:pt x="523" y="280"/>
                  </a:lnTo>
                  <a:lnTo>
                    <a:pt x="539" y="256"/>
                  </a:lnTo>
                  <a:lnTo>
                    <a:pt x="548" y="240"/>
                  </a:lnTo>
                  <a:lnTo>
                    <a:pt x="539" y="224"/>
                  </a:lnTo>
                  <a:lnTo>
                    <a:pt x="531" y="216"/>
                  </a:lnTo>
                  <a:lnTo>
                    <a:pt x="531" y="200"/>
                  </a:lnTo>
                  <a:lnTo>
                    <a:pt x="556" y="184"/>
                  </a:lnTo>
                  <a:lnTo>
                    <a:pt x="641" y="152"/>
                  </a:lnTo>
                  <a:lnTo>
                    <a:pt x="649" y="144"/>
                  </a:lnTo>
                  <a:lnTo>
                    <a:pt x="641" y="88"/>
                  </a:lnTo>
                  <a:lnTo>
                    <a:pt x="649" y="56"/>
                  </a:lnTo>
                  <a:lnTo>
                    <a:pt x="531" y="24"/>
                  </a:lnTo>
                  <a:lnTo>
                    <a:pt x="514" y="0"/>
                  </a:lnTo>
                  <a:lnTo>
                    <a:pt x="438" y="8"/>
                  </a:lnTo>
                  <a:lnTo>
                    <a:pt x="405" y="40"/>
                  </a:lnTo>
                  <a:lnTo>
                    <a:pt x="371" y="32"/>
                  </a:lnTo>
                  <a:lnTo>
                    <a:pt x="354" y="64"/>
                  </a:lnTo>
                  <a:lnTo>
                    <a:pt x="320" y="64"/>
                  </a:lnTo>
                  <a:lnTo>
                    <a:pt x="295" y="80"/>
                  </a:lnTo>
                  <a:lnTo>
                    <a:pt x="253" y="72"/>
                  </a:lnTo>
                  <a:lnTo>
                    <a:pt x="228" y="152"/>
                  </a:lnTo>
                  <a:lnTo>
                    <a:pt x="160" y="72"/>
                  </a:lnTo>
                  <a:lnTo>
                    <a:pt x="118" y="136"/>
                  </a:lnTo>
                  <a:lnTo>
                    <a:pt x="25" y="144"/>
                  </a:lnTo>
                  <a:lnTo>
                    <a:pt x="42" y="208"/>
                  </a:lnTo>
                  <a:lnTo>
                    <a:pt x="0" y="232"/>
                  </a:lnTo>
                  <a:lnTo>
                    <a:pt x="25" y="272"/>
                  </a:lnTo>
                  <a:lnTo>
                    <a:pt x="17" y="320"/>
                  </a:lnTo>
                  <a:lnTo>
                    <a:pt x="93" y="352"/>
                  </a:lnTo>
                  <a:lnTo>
                    <a:pt x="76" y="392"/>
                  </a:lnTo>
                  <a:lnTo>
                    <a:pt x="93" y="392"/>
                  </a:lnTo>
                  <a:lnTo>
                    <a:pt x="135" y="376"/>
                  </a:lnTo>
                  <a:lnTo>
                    <a:pt x="160" y="344"/>
                  </a:lnTo>
                  <a:lnTo>
                    <a:pt x="177" y="328"/>
                  </a:lnTo>
                  <a:lnTo>
                    <a:pt x="202" y="320"/>
                  </a:lnTo>
                  <a:lnTo>
                    <a:pt x="244" y="336"/>
                  </a:lnTo>
                  <a:lnTo>
                    <a:pt x="261" y="352"/>
                  </a:lnTo>
                  <a:lnTo>
                    <a:pt x="278" y="368"/>
                  </a:lnTo>
                  <a:lnTo>
                    <a:pt x="312" y="368"/>
                  </a:lnTo>
                  <a:lnTo>
                    <a:pt x="329" y="384"/>
                  </a:lnTo>
                  <a:lnTo>
                    <a:pt x="337" y="424"/>
                  </a:lnTo>
                  <a:lnTo>
                    <a:pt x="362" y="472"/>
                  </a:lnTo>
                  <a:lnTo>
                    <a:pt x="371" y="496"/>
                  </a:lnTo>
                  <a:lnTo>
                    <a:pt x="396" y="512"/>
                  </a:lnTo>
                  <a:lnTo>
                    <a:pt x="430" y="552"/>
                  </a:lnTo>
                  <a:lnTo>
                    <a:pt x="472" y="576"/>
                  </a:lnTo>
                  <a:lnTo>
                    <a:pt x="497" y="592"/>
                  </a:lnTo>
                  <a:lnTo>
                    <a:pt x="514" y="608"/>
                  </a:lnTo>
                  <a:lnTo>
                    <a:pt x="607" y="680"/>
                  </a:lnTo>
                  <a:lnTo>
                    <a:pt x="624" y="696"/>
                  </a:lnTo>
                  <a:lnTo>
                    <a:pt x="649" y="688"/>
                  </a:lnTo>
                  <a:lnTo>
                    <a:pt x="708" y="712"/>
                  </a:lnTo>
                  <a:lnTo>
                    <a:pt x="742" y="744"/>
                  </a:lnTo>
                  <a:lnTo>
                    <a:pt x="767" y="744"/>
                  </a:lnTo>
                  <a:lnTo>
                    <a:pt x="775" y="752"/>
                  </a:lnTo>
                  <a:lnTo>
                    <a:pt x="775" y="768"/>
                  </a:lnTo>
                  <a:lnTo>
                    <a:pt x="809" y="768"/>
                  </a:lnTo>
                  <a:lnTo>
                    <a:pt x="826" y="800"/>
                  </a:lnTo>
                  <a:lnTo>
                    <a:pt x="851" y="824"/>
                  </a:lnTo>
                  <a:lnTo>
                    <a:pt x="893" y="840"/>
                  </a:lnTo>
                  <a:lnTo>
                    <a:pt x="927" y="856"/>
                  </a:lnTo>
                  <a:lnTo>
                    <a:pt x="944" y="904"/>
                  </a:lnTo>
                  <a:lnTo>
                    <a:pt x="978" y="984"/>
                  </a:lnTo>
                  <a:lnTo>
                    <a:pt x="952" y="984"/>
                  </a:lnTo>
                  <a:lnTo>
                    <a:pt x="935" y="1000"/>
                  </a:lnTo>
                  <a:lnTo>
                    <a:pt x="935" y="1016"/>
                  </a:lnTo>
                  <a:lnTo>
                    <a:pt x="927" y="1040"/>
                  </a:lnTo>
                  <a:lnTo>
                    <a:pt x="919" y="1056"/>
                  </a:lnTo>
                  <a:lnTo>
                    <a:pt x="935" y="1072"/>
                  </a:lnTo>
                  <a:lnTo>
                    <a:pt x="952" y="1080"/>
                  </a:lnTo>
                  <a:lnTo>
                    <a:pt x="978" y="1072"/>
                  </a:lnTo>
                  <a:lnTo>
                    <a:pt x="994" y="1040"/>
                  </a:lnTo>
                  <a:lnTo>
                    <a:pt x="1011" y="1000"/>
                  </a:lnTo>
                  <a:lnTo>
                    <a:pt x="1028" y="960"/>
                  </a:lnTo>
                  <a:lnTo>
                    <a:pt x="1070" y="952"/>
                  </a:lnTo>
                  <a:lnTo>
                    <a:pt x="1070" y="904"/>
                  </a:lnTo>
                  <a:lnTo>
                    <a:pt x="1053" y="888"/>
                  </a:lnTo>
                  <a:lnTo>
                    <a:pt x="1028" y="880"/>
                  </a:lnTo>
                  <a:lnTo>
                    <a:pt x="1003" y="864"/>
                  </a:lnTo>
                  <a:lnTo>
                    <a:pt x="994" y="848"/>
                  </a:lnTo>
                  <a:lnTo>
                    <a:pt x="1011" y="800"/>
                  </a:lnTo>
                  <a:lnTo>
                    <a:pt x="1028" y="776"/>
                  </a:lnTo>
                  <a:lnTo>
                    <a:pt x="1045" y="768"/>
                  </a:lnTo>
                  <a:lnTo>
                    <a:pt x="1104" y="776"/>
                  </a:lnTo>
                  <a:lnTo>
                    <a:pt x="1146" y="792"/>
                  </a:lnTo>
                  <a:lnTo>
                    <a:pt x="1180" y="824"/>
                  </a:lnTo>
                  <a:lnTo>
                    <a:pt x="1180" y="784"/>
                  </a:lnTo>
                  <a:lnTo>
                    <a:pt x="1155" y="752"/>
                  </a:lnTo>
                  <a:close/>
                </a:path>
              </a:pathLst>
            </a:custGeom>
            <a:grpFill/>
            <a:ln w="127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9B7871D2-2CFC-C333-BBE6-D217FDEE1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6000" y="4223960"/>
              <a:ext cx="457909" cy="323887"/>
            </a:xfrm>
            <a:custGeom>
              <a:avLst/>
              <a:gdLst>
                <a:gd name="T0" fmla="*/ 278 w 328"/>
                <a:gd name="T1" fmla="*/ 184 h 232"/>
                <a:gd name="T2" fmla="*/ 286 w 328"/>
                <a:gd name="T3" fmla="*/ 168 h 232"/>
                <a:gd name="T4" fmla="*/ 311 w 328"/>
                <a:gd name="T5" fmla="*/ 160 h 232"/>
                <a:gd name="T6" fmla="*/ 328 w 328"/>
                <a:gd name="T7" fmla="*/ 144 h 232"/>
                <a:gd name="T8" fmla="*/ 328 w 328"/>
                <a:gd name="T9" fmla="*/ 112 h 232"/>
                <a:gd name="T10" fmla="*/ 303 w 328"/>
                <a:gd name="T11" fmla="*/ 88 h 232"/>
                <a:gd name="T12" fmla="*/ 269 w 328"/>
                <a:gd name="T13" fmla="*/ 72 h 232"/>
                <a:gd name="T14" fmla="*/ 278 w 328"/>
                <a:gd name="T15" fmla="*/ 48 h 232"/>
                <a:gd name="T16" fmla="*/ 261 w 328"/>
                <a:gd name="T17" fmla="*/ 24 h 232"/>
                <a:gd name="T18" fmla="*/ 219 w 328"/>
                <a:gd name="T19" fmla="*/ 16 h 232"/>
                <a:gd name="T20" fmla="*/ 168 w 328"/>
                <a:gd name="T21" fmla="*/ 8 h 232"/>
                <a:gd name="T22" fmla="*/ 134 w 328"/>
                <a:gd name="T23" fmla="*/ 24 h 232"/>
                <a:gd name="T24" fmla="*/ 101 w 328"/>
                <a:gd name="T25" fmla="*/ 16 h 232"/>
                <a:gd name="T26" fmla="*/ 75 w 328"/>
                <a:gd name="T27" fmla="*/ 0 h 232"/>
                <a:gd name="T28" fmla="*/ 42 w 328"/>
                <a:gd name="T29" fmla="*/ 16 h 232"/>
                <a:gd name="T30" fmla="*/ 0 w 328"/>
                <a:gd name="T31" fmla="*/ 24 h 232"/>
                <a:gd name="T32" fmla="*/ 16 w 328"/>
                <a:gd name="T33" fmla="*/ 40 h 232"/>
                <a:gd name="T34" fmla="*/ 42 w 328"/>
                <a:gd name="T35" fmla="*/ 72 h 232"/>
                <a:gd name="T36" fmla="*/ 67 w 328"/>
                <a:gd name="T37" fmla="*/ 96 h 232"/>
                <a:gd name="T38" fmla="*/ 101 w 328"/>
                <a:gd name="T39" fmla="*/ 112 h 232"/>
                <a:gd name="T40" fmla="*/ 101 w 328"/>
                <a:gd name="T41" fmla="*/ 120 h 232"/>
                <a:gd name="T42" fmla="*/ 143 w 328"/>
                <a:gd name="T43" fmla="*/ 136 h 232"/>
                <a:gd name="T44" fmla="*/ 143 w 328"/>
                <a:gd name="T45" fmla="*/ 168 h 232"/>
                <a:gd name="T46" fmla="*/ 185 w 328"/>
                <a:gd name="T47" fmla="*/ 160 h 232"/>
                <a:gd name="T48" fmla="*/ 202 w 328"/>
                <a:gd name="T49" fmla="*/ 192 h 232"/>
                <a:gd name="T50" fmla="*/ 261 w 328"/>
                <a:gd name="T51" fmla="*/ 232 h 232"/>
                <a:gd name="T52" fmla="*/ 278 w 328"/>
                <a:gd name="T53" fmla="*/ 232 h 232"/>
                <a:gd name="T54" fmla="*/ 278 w 328"/>
                <a:gd name="T55" fmla="*/ 208 h 232"/>
                <a:gd name="T56" fmla="*/ 278 w 328"/>
                <a:gd name="T57" fmla="*/ 184 h 23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8" h="232">
                  <a:moveTo>
                    <a:pt x="278" y="184"/>
                  </a:moveTo>
                  <a:lnTo>
                    <a:pt x="286" y="168"/>
                  </a:lnTo>
                  <a:lnTo>
                    <a:pt x="311" y="160"/>
                  </a:lnTo>
                  <a:lnTo>
                    <a:pt x="328" y="144"/>
                  </a:lnTo>
                  <a:lnTo>
                    <a:pt x="328" y="112"/>
                  </a:lnTo>
                  <a:lnTo>
                    <a:pt x="303" y="88"/>
                  </a:lnTo>
                  <a:lnTo>
                    <a:pt x="269" y="72"/>
                  </a:lnTo>
                  <a:lnTo>
                    <a:pt x="278" y="48"/>
                  </a:lnTo>
                  <a:lnTo>
                    <a:pt x="261" y="24"/>
                  </a:lnTo>
                  <a:lnTo>
                    <a:pt x="219" y="16"/>
                  </a:lnTo>
                  <a:lnTo>
                    <a:pt x="168" y="8"/>
                  </a:lnTo>
                  <a:lnTo>
                    <a:pt x="134" y="24"/>
                  </a:lnTo>
                  <a:lnTo>
                    <a:pt x="101" y="16"/>
                  </a:lnTo>
                  <a:lnTo>
                    <a:pt x="75" y="0"/>
                  </a:lnTo>
                  <a:lnTo>
                    <a:pt x="42" y="16"/>
                  </a:lnTo>
                  <a:lnTo>
                    <a:pt x="0" y="24"/>
                  </a:lnTo>
                  <a:lnTo>
                    <a:pt x="16" y="40"/>
                  </a:lnTo>
                  <a:lnTo>
                    <a:pt x="42" y="72"/>
                  </a:lnTo>
                  <a:lnTo>
                    <a:pt x="67" y="96"/>
                  </a:lnTo>
                  <a:lnTo>
                    <a:pt x="101" y="112"/>
                  </a:lnTo>
                  <a:lnTo>
                    <a:pt x="101" y="120"/>
                  </a:lnTo>
                  <a:lnTo>
                    <a:pt x="143" y="136"/>
                  </a:lnTo>
                  <a:lnTo>
                    <a:pt x="143" y="168"/>
                  </a:lnTo>
                  <a:lnTo>
                    <a:pt x="185" y="160"/>
                  </a:lnTo>
                  <a:lnTo>
                    <a:pt x="202" y="192"/>
                  </a:lnTo>
                  <a:lnTo>
                    <a:pt x="261" y="232"/>
                  </a:lnTo>
                  <a:lnTo>
                    <a:pt x="278" y="232"/>
                  </a:lnTo>
                  <a:lnTo>
                    <a:pt x="278" y="208"/>
                  </a:lnTo>
                  <a:lnTo>
                    <a:pt x="278" y="184"/>
                  </a:lnTo>
                  <a:close/>
                </a:path>
              </a:pathLst>
            </a:custGeom>
            <a:grpFill/>
            <a:ln w="127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52">
              <a:extLst>
                <a:ext uri="{FF2B5EF4-FFF2-40B4-BE49-F238E27FC236}">
                  <a16:creationId xmlns:a16="http://schemas.microsoft.com/office/drawing/2014/main" id="{C4EBD6B0-320E-FAA2-E84C-C953BC181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9954" y="5039262"/>
              <a:ext cx="765043" cy="580763"/>
            </a:xfrm>
            <a:custGeom>
              <a:avLst/>
              <a:gdLst>
                <a:gd name="T0" fmla="*/ 388 w 548"/>
                <a:gd name="T1" fmla="*/ 360 h 416"/>
                <a:gd name="T2" fmla="*/ 379 w 548"/>
                <a:gd name="T3" fmla="*/ 344 h 416"/>
                <a:gd name="T4" fmla="*/ 345 w 548"/>
                <a:gd name="T5" fmla="*/ 328 h 416"/>
                <a:gd name="T6" fmla="*/ 320 w 548"/>
                <a:gd name="T7" fmla="*/ 296 h 416"/>
                <a:gd name="T8" fmla="*/ 270 w 548"/>
                <a:gd name="T9" fmla="*/ 264 h 416"/>
                <a:gd name="T10" fmla="*/ 236 w 548"/>
                <a:gd name="T11" fmla="*/ 216 h 416"/>
                <a:gd name="T12" fmla="*/ 202 w 548"/>
                <a:gd name="T13" fmla="*/ 200 h 416"/>
                <a:gd name="T14" fmla="*/ 219 w 548"/>
                <a:gd name="T15" fmla="*/ 152 h 416"/>
                <a:gd name="T16" fmla="*/ 236 w 548"/>
                <a:gd name="T17" fmla="*/ 152 h 416"/>
                <a:gd name="T18" fmla="*/ 270 w 548"/>
                <a:gd name="T19" fmla="*/ 168 h 416"/>
                <a:gd name="T20" fmla="*/ 278 w 548"/>
                <a:gd name="T21" fmla="*/ 144 h 416"/>
                <a:gd name="T22" fmla="*/ 312 w 548"/>
                <a:gd name="T23" fmla="*/ 136 h 416"/>
                <a:gd name="T24" fmla="*/ 354 w 548"/>
                <a:gd name="T25" fmla="*/ 144 h 416"/>
                <a:gd name="T26" fmla="*/ 404 w 548"/>
                <a:gd name="T27" fmla="*/ 152 h 416"/>
                <a:gd name="T28" fmla="*/ 438 w 548"/>
                <a:gd name="T29" fmla="*/ 144 h 416"/>
                <a:gd name="T30" fmla="*/ 472 w 548"/>
                <a:gd name="T31" fmla="*/ 152 h 416"/>
                <a:gd name="T32" fmla="*/ 522 w 548"/>
                <a:gd name="T33" fmla="*/ 160 h 416"/>
                <a:gd name="T34" fmla="*/ 522 w 548"/>
                <a:gd name="T35" fmla="*/ 128 h 416"/>
                <a:gd name="T36" fmla="*/ 548 w 548"/>
                <a:gd name="T37" fmla="*/ 120 h 416"/>
                <a:gd name="T38" fmla="*/ 522 w 548"/>
                <a:gd name="T39" fmla="*/ 112 h 416"/>
                <a:gd name="T40" fmla="*/ 497 w 548"/>
                <a:gd name="T41" fmla="*/ 80 h 416"/>
                <a:gd name="T42" fmla="*/ 480 w 548"/>
                <a:gd name="T43" fmla="*/ 48 h 416"/>
                <a:gd name="T44" fmla="*/ 421 w 548"/>
                <a:gd name="T45" fmla="*/ 72 h 416"/>
                <a:gd name="T46" fmla="*/ 388 w 548"/>
                <a:gd name="T47" fmla="*/ 72 h 416"/>
                <a:gd name="T48" fmla="*/ 379 w 548"/>
                <a:gd name="T49" fmla="*/ 48 h 416"/>
                <a:gd name="T50" fmla="*/ 345 w 548"/>
                <a:gd name="T51" fmla="*/ 56 h 416"/>
                <a:gd name="T52" fmla="*/ 320 w 548"/>
                <a:gd name="T53" fmla="*/ 40 h 416"/>
                <a:gd name="T54" fmla="*/ 295 w 548"/>
                <a:gd name="T55" fmla="*/ 16 h 416"/>
                <a:gd name="T56" fmla="*/ 261 w 548"/>
                <a:gd name="T57" fmla="*/ 0 h 416"/>
                <a:gd name="T58" fmla="*/ 227 w 548"/>
                <a:gd name="T59" fmla="*/ 8 h 416"/>
                <a:gd name="T60" fmla="*/ 194 w 548"/>
                <a:gd name="T61" fmla="*/ 48 h 416"/>
                <a:gd name="T62" fmla="*/ 194 w 548"/>
                <a:gd name="T63" fmla="*/ 88 h 416"/>
                <a:gd name="T64" fmla="*/ 160 w 548"/>
                <a:gd name="T65" fmla="*/ 96 h 416"/>
                <a:gd name="T66" fmla="*/ 143 w 548"/>
                <a:gd name="T67" fmla="*/ 128 h 416"/>
                <a:gd name="T68" fmla="*/ 109 w 548"/>
                <a:gd name="T69" fmla="*/ 120 h 416"/>
                <a:gd name="T70" fmla="*/ 84 w 548"/>
                <a:gd name="T71" fmla="*/ 104 h 416"/>
                <a:gd name="T72" fmla="*/ 42 w 548"/>
                <a:gd name="T73" fmla="*/ 136 h 416"/>
                <a:gd name="T74" fmla="*/ 8 w 548"/>
                <a:gd name="T75" fmla="*/ 144 h 416"/>
                <a:gd name="T76" fmla="*/ 0 w 548"/>
                <a:gd name="T77" fmla="*/ 144 h 416"/>
                <a:gd name="T78" fmla="*/ 0 w 548"/>
                <a:gd name="T79" fmla="*/ 152 h 416"/>
                <a:gd name="T80" fmla="*/ 34 w 548"/>
                <a:gd name="T81" fmla="*/ 216 h 416"/>
                <a:gd name="T82" fmla="*/ 84 w 548"/>
                <a:gd name="T83" fmla="*/ 152 h 416"/>
                <a:gd name="T84" fmla="*/ 84 w 548"/>
                <a:gd name="T85" fmla="*/ 216 h 416"/>
                <a:gd name="T86" fmla="*/ 126 w 548"/>
                <a:gd name="T87" fmla="*/ 192 h 416"/>
                <a:gd name="T88" fmla="*/ 126 w 548"/>
                <a:gd name="T89" fmla="*/ 240 h 416"/>
                <a:gd name="T90" fmla="*/ 177 w 548"/>
                <a:gd name="T91" fmla="*/ 264 h 416"/>
                <a:gd name="T92" fmla="*/ 160 w 548"/>
                <a:gd name="T93" fmla="*/ 272 h 416"/>
                <a:gd name="T94" fmla="*/ 219 w 548"/>
                <a:gd name="T95" fmla="*/ 312 h 416"/>
                <a:gd name="T96" fmla="*/ 227 w 548"/>
                <a:gd name="T97" fmla="*/ 336 h 416"/>
                <a:gd name="T98" fmla="*/ 253 w 548"/>
                <a:gd name="T99" fmla="*/ 352 h 416"/>
                <a:gd name="T100" fmla="*/ 312 w 548"/>
                <a:gd name="T101" fmla="*/ 360 h 416"/>
                <a:gd name="T102" fmla="*/ 371 w 548"/>
                <a:gd name="T103" fmla="*/ 384 h 416"/>
                <a:gd name="T104" fmla="*/ 312 w 548"/>
                <a:gd name="T105" fmla="*/ 392 h 416"/>
                <a:gd name="T106" fmla="*/ 413 w 548"/>
                <a:gd name="T107" fmla="*/ 416 h 416"/>
                <a:gd name="T108" fmla="*/ 413 w 548"/>
                <a:gd name="T109" fmla="*/ 384 h 416"/>
                <a:gd name="T110" fmla="*/ 388 w 548"/>
                <a:gd name="T111" fmla="*/ 360 h 41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48" h="416">
                  <a:moveTo>
                    <a:pt x="388" y="360"/>
                  </a:moveTo>
                  <a:lnTo>
                    <a:pt x="379" y="344"/>
                  </a:lnTo>
                  <a:lnTo>
                    <a:pt x="345" y="328"/>
                  </a:lnTo>
                  <a:lnTo>
                    <a:pt x="320" y="296"/>
                  </a:lnTo>
                  <a:lnTo>
                    <a:pt x="270" y="264"/>
                  </a:lnTo>
                  <a:lnTo>
                    <a:pt x="236" y="216"/>
                  </a:lnTo>
                  <a:lnTo>
                    <a:pt x="202" y="200"/>
                  </a:lnTo>
                  <a:lnTo>
                    <a:pt x="219" y="152"/>
                  </a:lnTo>
                  <a:lnTo>
                    <a:pt x="236" y="152"/>
                  </a:lnTo>
                  <a:lnTo>
                    <a:pt x="270" y="168"/>
                  </a:lnTo>
                  <a:lnTo>
                    <a:pt x="278" y="144"/>
                  </a:lnTo>
                  <a:lnTo>
                    <a:pt x="312" y="136"/>
                  </a:lnTo>
                  <a:lnTo>
                    <a:pt x="354" y="144"/>
                  </a:lnTo>
                  <a:lnTo>
                    <a:pt x="404" y="152"/>
                  </a:lnTo>
                  <a:lnTo>
                    <a:pt x="438" y="144"/>
                  </a:lnTo>
                  <a:lnTo>
                    <a:pt x="472" y="152"/>
                  </a:lnTo>
                  <a:lnTo>
                    <a:pt x="522" y="160"/>
                  </a:lnTo>
                  <a:lnTo>
                    <a:pt x="522" y="128"/>
                  </a:lnTo>
                  <a:lnTo>
                    <a:pt x="548" y="120"/>
                  </a:lnTo>
                  <a:lnTo>
                    <a:pt x="522" y="112"/>
                  </a:lnTo>
                  <a:lnTo>
                    <a:pt x="497" y="80"/>
                  </a:lnTo>
                  <a:lnTo>
                    <a:pt x="480" y="48"/>
                  </a:lnTo>
                  <a:lnTo>
                    <a:pt x="421" y="72"/>
                  </a:lnTo>
                  <a:lnTo>
                    <a:pt x="388" y="72"/>
                  </a:lnTo>
                  <a:lnTo>
                    <a:pt x="379" y="48"/>
                  </a:lnTo>
                  <a:lnTo>
                    <a:pt x="345" y="56"/>
                  </a:lnTo>
                  <a:lnTo>
                    <a:pt x="320" y="40"/>
                  </a:lnTo>
                  <a:lnTo>
                    <a:pt x="295" y="16"/>
                  </a:lnTo>
                  <a:lnTo>
                    <a:pt x="261" y="0"/>
                  </a:lnTo>
                  <a:lnTo>
                    <a:pt x="227" y="8"/>
                  </a:lnTo>
                  <a:lnTo>
                    <a:pt x="194" y="48"/>
                  </a:lnTo>
                  <a:lnTo>
                    <a:pt x="194" y="88"/>
                  </a:lnTo>
                  <a:lnTo>
                    <a:pt x="160" y="96"/>
                  </a:lnTo>
                  <a:lnTo>
                    <a:pt x="143" y="128"/>
                  </a:lnTo>
                  <a:lnTo>
                    <a:pt x="109" y="120"/>
                  </a:lnTo>
                  <a:lnTo>
                    <a:pt x="84" y="104"/>
                  </a:lnTo>
                  <a:lnTo>
                    <a:pt x="42" y="136"/>
                  </a:lnTo>
                  <a:lnTo>
                    <a:pt x="8" y="144"/>
                  </a:lnTo>
                  <a:lnTo>
                    <a:pt x="0" y="144"/>
                  </a:lnTo>
                  <a:lnTo>
                    <a:pt x="0" y="152"/>
                  </a:lnTo>
                  <a:lnTo>
                    <a:pt x="34" y="216"/>
                  </a:lnTo>
                  <a:lnTo>
                    <a:pt x="84" y="152"/>
                  </a:lnTo>
                  <a:lnTo>
                    <a:pt x="84" y="216"/>
                  </a:lnTo>
                  <a:lnTo>
                    <a:pt x="126" y="192"/>
                  </a:lnTo>
                  <a:lnTo>
                    <a:pt x="126" y="240"/>
                  </a:lnTo>
                  <a:lnTo>
                    <a:pt x="177" y="264"/>
                  </a:lnTo>
                  <a:lnTo>
                    <a:pt x="160" y="272"/>
                  </a:lnTo>
                  <a:lnTo>
                    <a:pt x="219" y="312"/>
                  </a:lnTo>
                  <a:lnTo>
                    <a:pt x="227" y="336"/>
                  </a:lnTo>
                  <a:lnTo>
                    <a:pt x="253" y="352"/>
                  </a:lnTo>
                  <a:lnTo>
                    <a:pt x="312" y="360"/>
                  </a:lnTo>
                  <a:lnTo>
                    <a:pt x="371" y="384"/>
                  </a:lnTo>
                  <a:lnTo>
                    <a:pt x="312" y="392"/>
                  </a:lnTo>
                  <a:lnTo>
                    <a:pt x="413" y="416"/>
                  </a:lnTo>
                  <a:lnTo>
                    <a:pt x="413" y="384"/>
                  </a:lnTo>
                  <a:lnTo>
                    <a:pt x="388" y="360"/>
                  </a:lnTo>
                  <a:close/>
                </a:path>
              </a:pathLst>
            </a:custGeom>
            <a:grpFill/>
            <a:ln w="127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6">
              <a:extLst>
                <a:ext uri="{FF2B5EF4-FFF2-40B4-BE49-F238E27FC236}">
                  <a16:creationId xmlns:a16="http://schemas.microsoft.com/office/drawing/2014/main" id="{F57C9EBA-60A1-5FD1-B6BA-6F8141F5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222" y="3620860"/>
              <a:ext cx="1200616" cy="915819"/>
            </a:xfrm>
            <a:custGeom>
              <a:avLst/>
              <a:gdLst>
                <a:gd name="T0" fmla="*/ 775 w 860"/>
                <a:gd name="T1" fmla="*/ 560 h 656"/>
                <a:gd name="T2" fmla="*/ 826 w 860"/>
                <a:gd name="T3" fmla="*/ 464 h 656"/>
                <a:gd name="T4" fmla="*/ 860 w 860"/>
                <a:gd name="T5" fmla="*/ 456 h 656"/>
                <a:gd name="T6" fmla="*/ 851 w 860"/>
                <a:gd name="T7" fmla="*/ 416 h 656"/>
                <a:gd name="T8" fmla="*/ 817 w 860"/>
                <a:gd name="T9" fmla="*/ 352 h 656"/>
                <a:gd name="T10" fmla="*/ 792 w 860"/>
                <a:gd name="T11" fmla="*/ 320 h 656"/>
                <a:gd name="T12" fmla="*/ 784 w 860"/>
                <a:gd name="T13" fmla="*/ 264 h 656"/>
                <a:gd name="T14" fmla="*/ 750 w 860"/>
                <a:gd name="T15" fmla="*/ 256 h 656"/>
                <a:gd name="T16" fmla="*/ 750 w 860"/>
                <a:gd name="T17" fmla="*/ 232 h 656"/>
                <a:gd name="T18" fmla="*/ 792 w 860"/>
                <a:gd name="T19" fmla="*/ 184 h 656"/>
                <a:gd name="T20" fmla="*/ 750 w 860"/>
                <a:gd name="T21" fmla="*/ 104 h 656"/>
                <a:gd name="T22" fmla="*/ 725 w 860"/>
                <a:gd name="T23" fmla="*/ 40 h 656"/>
                <a:gd name="T24" fmla="*/ 666 w 860"/>
                <a:gd name="T25" fmla="*/ 16 h 656"/>
                <a:gd name="T26" fmla="*/ 531 w 860"/>
                <a:gd name="T27" fmla="*/ 40 h 656"/>
                <a:gd name="T28" fmla="*/ 447 w 860"/>
                <a:gd name="T29" fmla="*/ 24 h 656"/>
                <a:gd name="T30" fmla="*/ 405 w 860"/>
                <a:gd name="T31" fmla="*/ 48 h 656"/>
                <a:gd name="T32" fmla="*/ 362 w 860"/>
                <a:gd name="T33" fmla="*/ 40 h 656"/>
                <a:gd name="T34" fmla="*/ 329 w 860"/>
                <a:gd name="T35" fmla="*/ 24 h 656"/>
                <a:gd name="T36" fmla="*/ 295 w 860"/>
                <a:gd name="T37" fmla="*/ 0 h 656"/>
                <a:gd name="T38" fmla="*/ 253 w 860"/>
                <a:gd name="T39" fmla="*/ 8 h 656"/>
                <a:gd name="T40" fmla="*/ 177 w 860"/>
                <a:gd name="T41" fmla="*/ 40 h 656"/>
                <a:gd name="T42" fmla="*/ 169 w 860"/>
                <a:gd name="T43" fmla="*/ 72 h 656"/>
                <a:gd name="T44" fmla="*/ 126 w 860"/>
                <a:gd name="T45" fmla="*/ 88 h 656"/>
                <a:gd name="T46" fmla="*/ 25 w 860"/>
                <a:gd name="T47" fmla="*/ 128 h 656"/>
                <a:gd name="T48" fmla="*/ 9 w 860"/>
                <a:gd name="T49" fmla="*/ 128 h 656"/>
                <a:gd name="T50" fmla="*/ 17 w 860"/>
                <a:gd name="T51" fmla="*/ 176 h 656"/>
                <a:gd name="T52" fmla="*/ 25 w 860"/>
                <a:gd name="T53" fmla="*/ 208 h 656"/>
                <a:gd name="T54" fmla="*/ 0 w 860"/>
                <a:gd name="T55" fmla="*/ 256 h 656"/>
                <a:gd name="T56" fmla="*/ 51 w 860"/>
                <a:gd name="T57" fmla="*/ 288 h 656"/>
                <a:gd name="T58" fmla="*/ 51 w 860"/>
                <a:gd name="T59" fmla="*/ 320 h 656"/>
                <a:gd name="T60" fmla="*/ 76 w 860"/>
                <a:gd name="T61" fmla="*/ 360 h 656"/>
                <a:gd name="T62" fmla="*/ 59 w 860"/>
                <a:gd name="T63" fmla="*/ 400 h 656"/>
                <a:gd name="T64" fmla="*/ 84 w 860"/>
                <a:gd name="T65" fmla="*/ 432 h 656"/>
                <a:gd name="T66" fmla="*/ 84 w 860"/>
                <a:gd name="T67" fmla="*/ 472 h 656"/>
                <a:gd name="T68" fmla="*/ 126 w 860"/>
                <a:gd name="T69" fmla="*/ 496 h 656"/>
                <a:gd name="T70" fmla="*/ 169 w 860"/>
                <a:gd name="T71" fmla="*/ 512 h 656"/>
                <a:gd name="T72" fmla="*/ 211 w 860"/>
                <a:gd name="T73" fmla="*/ 512 h 656"/>
                <a:gd name="T74" fmla="*/ 202 w 860"/>
                <a:gd name="T75" fmla="*/ 544 h 656"/>
                <a:gd name="T76" fmla="*/ 244 w 860"/>
                <a:gd name="T77" fmla="*/ 576 h 656"/>
                <a:gd name="T78" fmla="*/ 270 w 860"/>
                <a:gd name="T79" fmla="*/ 560 h 656"/>
                <a:gd name="T80" fmla="*/ 270 w 860"/>
                <a:gd name="T81" fmla="*/ 536 h 656"/>
                <a:gd name="T82" fmla="*/ 320 w 860"/>
                <a:gd name="T83" fmla="*/ 552 h 656"/>
                <a:gd name="T84" fmla="*/ 337 w 860"/>
                <a:gd name="T85" fmla="*/ 576 h 656"/>
                <a:gd name="T86" fmla="*/ 379 w 860"/>
                <a:gd name="T87" fmla="*/ 584 h 656"/>
                <a:gd name="T88" fmla="*/ 421 w 860"/>
                <a:gd name="T89" fmla="*/ 592 h 656"/>
                <a:gd name="T90" fmla="*/ 438 w 860"/>
                <a:gd name="T91" fmla="*/ 624 h 656"/>
                <a:gd name="T92" fmla="*/ 438 w 860"/>
                <a:gd name="T93" fmla="*/ 624 h 656"/>
                <a:gd name="T94" fmla="*/ 464 w 860"/>
                <a:gd name="T95" fmla="*/ 640 h 656"/>
                <a:gd name="T96" fmla="*/ 497 w 860"/>
                <a:gd name="T97" fmla="*/ 616 h 656"/>
                <a:gd name="T98" fmla="*/ 523 w 860"/>
                <a:gd name="T99" fmla="*/ 640 h 656"/>
                <a:gd name="T100" fmla="*/ 531 w 860"/>
                <a:gd name="T101" fmla="*/ 656 h 656"/>
                <a:gd name="T102" fmla="*/ 556 w 860"/>
                <a:gd name="T103" fmla="*/ 656 h 656"/>
                <a:gd name="T104" fmla="*/ 581 w 860"/>
                <a:gd name="T105" fmla="*/ 632 h 656"/>
                <a:gd name="T106" fmla="*/ 615 w 860"/>
                <a:gd name="T107" fmla="*/ 632 h 656"/>
                <a:gd name="T108" fmla="*/ 640 w 860"/>
                <a:gd name="T109" fmla="*/ 616 h 656"/>
                <a:gd name="T110" fmla="*/ 683 w 860"/>
                <a:gd name="T111" fmla="*/ 616 h 656"/>
                <a:gd name="T112" fmla="*/ 708 w 860"/>
                <a:gd name="T113" fmla="*/ 624 h 656"/>
                <a:gd name="T114" fmla="*/ 767 w 860"/>
                <a:gd name="T115" fmla="*/ 632 h 656"/>
                <a:gd name="T116" fmla="*/ 758 w 860"/>
                <a:gd name="T117" fmla="*/ 640 h 656"/>
                <a:gd name="T118" fmla="*/ 792 w 860"/>
                <a:gd name="T119" fmla="*/ 632 h 656"/>
                <a:gd name="T120" fmla="*/ 775 w 860"/>
                <a:gd name="T121" fmla="*/ 560 h 6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60" h="656">
                  <a:moveTo>
                    <a:pt x="775" y="560"/>
                  </a:moveTo>
                  <a:lnTo>
                    <a:pt x="826" y="464"/>
                  </a:lnTo>
                  <a:lnTo>
                    <a:pt x="860" y="456"/>
                  </a:lnTo>
                  <a:lnTo>
                    <a:pt x="851" y="416"/>
                  </a:lnTo>
                  <a:lnTo>
                    <a:pt x="817" y="352"/>
                  </a:lnTo>
                  <a:lnTo>
                    <a:pt x="792" y="320"/>
                  </a:lnTo>
                  <a:lnTo>
                    <a:pt x="784" y="264"/>
                  </a:lnTo>
                  <a:lnTo>
                    <a:pt x="750" y="256"/>
                  </a:lnTo>
                  <a:lnTo>
                    <a:pt x="750" y="232"/>
                  </a:lnTo>
                  <a:lnTo>
                    <a:pt x="792" y="184"/>
                  </a:lnTo>
                  <a:lnTo>
                    <a:pt x="750" y="104"/>
                  </a:lnTo>
                  <a:lnTo>
                    <a:pt x="725" y="40"/>
                  </a:lnTo>
                  <a:lnTo>
                    <a:pt x="666" y="16"/>
                  </a:lnTo>
                  <a:lnTo>
                    <a:pt x="531" y="40"/>
                  </a:lnTo>
                  <a:lnTo>
                    <a:pt x="447" y="24"/>
                  </a:lnTo>
                  <a:lnTo>
                    <a:pt x="405" y="48"/>
                  </a:lnTo>
                  <a:lnTo>
                    <a:pt x="362" y="40"/>
                  </a:lnTo>
                  <a:lnTo>
                    <a:pt x="329" y="24"/>
                  </a:lnTo>
                  <a:lnTo>
                    <a:pt x="295" y="0"/>
                  </a:lnTo>
                  <a:lnTo>
                    <a:pt x="253" y="8"/>
                  </a:lnTo>
                  <a:lnTo>
                    <a:pt x="177" y="40"/>
                  </a:lnTo>
                  <a:lnTo>
                    <a:pt x="169" y="72"/>
                  </a:lnTo>
                  <a:lnTo>
                    <a:pt x="126" y="88"/>
                  </a:lnTo>
                  <a:lnTo>
                    <a:pt x="25" y="128"/>
                  </a:lnTo>
                  <a:lnTo>
                    <a:pt x="9" y="128"/>
                  </a:lnTo>
                  <a:lnTo>
                    <a:pt x="17" y="176"/>
                  </a:lnTo>
                  <a:lnTo>
                    <a:pt x="25" y="208"/>
                  </a:lnTo>
                  <a:lnTo>
                    <a:pt x="0" y="256"/>
                  </a:lnTo>
                  <a:lnTo>
                    <a:pt x="51" y="288"/>
                  </a:lnTo>
                  <a:lnTo>
                    <a:pt x="51" y="320"/>
                  </a:lnTo>
                  <a:lnTo>
                    <a:pt x="76" y="360"/>
                  </a:lnTo>
                  <a:lnTo>
                    <a:pt x="59" y="400"/>
                  </a:lnTo>
                  <a:lnTo>
                    <a:pt x="84" y="432"/>
                  </a:lnTo>
                  <a:lnTo>
                    <a:pt x="84" y="472"/>
                  </a:lnTo>
                  <a:lnTo>
                    <a:pt x="126" y="496"/>
                  </a:lnTo>
                  <a:lnTo>
                    <a:pt x="169" y="512"/>
                  </a:lnTo>
                  <a:lnTo>
                    <a:pt x="211" y="512"/>
                  </a:lnTo>
                  <a:lnTo>
                    <a:pt x="202" y="544"/>
                  </a:lnTo>
                  <a:lnTo>
                    <a:pt x="244" y="576"/>
                  </a:lnTo>
                  <a:lnTo>
                    <a:pt x="270" y="560"/>
                  </a:lnTo>
                  <a:lnTo>
                    <a:pt x="270" y="536"/>
                  </a:lnTo>
                  <a:lnTo>
                    <a:pt x="320" y="552"/>
                  </a:lnTo>
                  <a:lnTo>
                    <a:pt x="337" y="576"/>
                  </a:lnTo>
                  <a:lnTo>
                    <a:pt x="379" y="584"/>
                  </a:lnTo>
                  <a:lnTo>
                    <a:pt x="421" y="592"/>
                  </a:lnTo>
                  <a:lnTo>
                    <a:pt x="438" y="624"/>
                  </a:lnTo>
                  <a:lnTo>
                    <a:pt x="464" y="640"/>
                  </a:lnTo>
                  <a:lnTo>
                    <a:pt x="497" y="616"/>
                  </a:lnTo>
                  <a:lnTo>
                    <a:pt x="523" y="640"/>
                  </a:lnTo>
                  <a:lnTo>
                    <a:pt x="531" y="656"/>
                  </a:lnTo>
                  <a:lnTo>
                    <a:pt x="556" y="656"/>
                  </a:lnTo>
                  <a:lnTo>
                    <a:pt x="581" y="632"/>
                  </a:lnTo>
                  <a:lnTo>
                    <a:pt x="615" y="632"/>
                  </a:lnTo>
                  <a:lnTo>
                    <a:pt x="640" y="616"/>
                  </a:lnTo>
                  <a:lnTo>
                    <a:pt x="683" y="616"/>
                  </a:lnTo>
                  <a:lnTo>
                    <a:pt x="708" y="624"/>
                  </a:lnTo>
                  <a:lnTo>
                    <a:pt x="767" y="632"/>
                  </a:lnTo>
                  <a:lnTo>
                    <a:pt x="758" y="640"/>
                  </a:lnTo>
                  <a:lnTo>
                    <a:pt x="792" y="632"/>
                  </a:lnTo>
                  <a:lnTo>
                    <a:pt x="775" y="560"/>
                  </a:lnTo>
                  <a:close/>
                </a:path>
              </a:pathLst>
            </a:custGeom>
            <a:grpFill/>
            <a:ln w="127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102">
              <a:extLst>
                <a:ext uri="{FF2B5EF4-FFF2-40B4-BE49-F238E27FC236}">
                  <a16:creationId xmlns:a16="http://schemas.microsoft.com/office/drawing/2014/main" id="{2FF8C9C7-F0E6-2243-9075-B235E6DBA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40" y="1830695"/>
              <a:ext cx="1118248" cy="1775794"/>
            </a:xfrm>
            <a:custGeom>
              <a:avLst/>
              <a:gdLst>
                <a:gd name="T0" fmla="*/ 683 w 801"/>
                <a:gd name="T1" fmla="*/ 720 h 1272"/>
                <a:gd name="T2" fmla="*/ 658 w 801"/>
                <a:gd name="T3" fmla="*/ 616 h 1272"/>
                <a:gd name="T4" fmla="*/ 582 w 801"/>
                <a:gd name="T5" fmla="*/ 520 h 1272"/>
                <a:gd name="T6" fmla="*/ 557 w 801"/>
                <a:gd name="T7" fmla="*/ 408 h 1272"/>
                <a:gd name="T8" fmla="*/ 523 w 801"/>
                <a:gd name="T9" fmla="*/ 256 h 1272"/>
                <a:gd name="T10" fmla="*/ 439 w 801"/>
                <a:gd name="T11" fmla="*/ 200 h 1272"/>
                <a:gd name="T12" fmla="*/ 422 w 801"/>
                <a:gd name="T13" fmla="*/ 88 h 1272"/>
                <a:gd name="T14" fmla="*/ 413 w 801"/>
                <a:gd name="T15" fmla="*/ 32 h 1272"/>
                <a:gd name="T16" fmla="*/ 295 w 801"/>
                <a:gd name="T17" fmla="*/ 0 h 1272"/>
                <a:gd name="T18" fmla="*/ 262 w 801"/>
                <a:gd name="T19" fmla="*/ 112 h 1272"/>
                <a:gd name="T20" fmla="*/ 186 w 801"/>
                <a:gd name="T21" fmla="*/ 168 h 1272"/>
                <a:gd name="T22" fmla="*/ 43 w 801"/>
                <a:gd name="T23" fmla="*/ 136 h 1272"/>
                <a:gd name="T24" fmla="*/ 51 w 801"/>
                <a:gd name="T25" fmla="*/ 216 h 1272"/>
                <a:gd name="T26" fmla="*/ 177 w 801"/>
                <a:gd name="T27" fmla="*/ 296 h 1272"/>
                <a:gd name="T28" fmla="*/ 220 w 801"/>
                <a:gd name="T29" fmla="*/ 368 h 1272"/>
                <a:gd name="T30" fmla="*/ 228 w 801"/>
                <a:gd name="T31" fmla="*/ 464 h 1272"/>
                <a:gd name="T32" fmla="*/ 262 w 801"/>
                <a:gd name="T33" fmla="*/ 552 h 1272"/>
                <a:gd name="T34" fmla="*/ 329 w 801"/>
                <a:gd name="T35" fmla="*/ 576 h 1272"/>
                <a:gd name="T36" fmla="*/ 354 w 801"/>
                <a:gd name="T37" fmla="*/ 600 h 1272"/>
                <a:gd name="T38" fmla="*/ 354 w 801"/>
                <a:gd name="T39" fmla="*/ 632 h 1272"/>
                <a:gd name="T40" fmla="*/ 236 w 801"/>
                <a:gd name="T41" fmla="*/ 832 h 1272"/>
                <a:gd name="T42" fmla="*/ 177 w 801"/>
                <a:gd name="T43" fmla="*/ 896 h 1272"/>
                <a:gd name="T44" fmla="*/ 186 w 801"/>
                <a:gd name="T45" fmla="*/ 976 h 1272"/>
                <a:gd name="T46" fmla="*/ 228 w 801"/>
                <a:gd name="T47" fmla="*/ 1080 h 1272"/>
                <a:gd name="T48" fmla="*/ 236 w 801"/>
                <a:gd name="T49" fmla="*/ 1160 h 1272"/>
                <a:gd name="T50" fmla="*/ 287 w 801"/>
                <a:gd name="T51" fmla="*/ 1208 h 1272"/>
                <a:gd name="T52" fmla="*/ 312 w 801"/>
                <a:gd name="T53" fmla="*/ 1272 h 1272"/>
                <a:gd name="T54" fmla="*/ 380 w 801"/>
                <a:gd name="T55" fmla="*/ 1264 h 1272"/>
                <a:gd name="T56" fmla="*/ 506 w 801"/>
                <a:gd name="T57" fmla="*/ 1192 h 1272"/>
                <a:gd name="T58" fmla="*/ 675 w 801"/>
                <a:gd name="T59" fmla="*/ 1112 h 1272"/>
                <a:gd name="T60" fmla="*/ 750 w 801"/>
                <a:gd name="T61" fmla="*/ 944 h 1272"/>
                <a:gd name="T62" fmla="*/ 801 w 801"/>
                <a:gd name="T63" fmla="*/ 808 h 12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01" h="1272">
                  <a:moveTo>
                    <a:pt x="750" y="760"/>
                  </a:moveTo>
                  <a:lnTo>
                    <a:pt x="683" y="720"/>
                  </a:lnTo>
                  <a:lnTo>
                    <a:pt x="700" y="672"/>
                  </a:lnTo>
                  <a:lnTo>
                    <a:pt x="658" y="616"/>
                  </a:lnTo>
                  <a:lnTo>
                    <a:pt x="590" y="576"/>
                  </a:lnTo>
                  <a:lnTo>
                    <a:pt x="582" y="520"/>
                  </a:lnTo>
                  <a:lnTo>
                    <a:pt x="624" y="472"/>
                  </a:lnTo>
                  <a:lnTo>
                    <a:pt x="557" y="408"/>
                  </a:lnTo>
                  <a:lnTo>
                    <a:pt x="506" y="312"/>
                  </a:lnTo>
                  <a:lnTo>
                    <a:pt x="523" y="256"/>
                  </a:lnTo>
                  <a:lnTo>
                    <a:pt x="481" y="216"/>
                  </a:lnTo>
                  <a:lnTo>
                    <a:pt x="439" y="200"/>
                  </a:lnTo>
                  <a:lnTo>
                    <a:pt x="413" y="136"/>
                  </a:lnTo>
                  <a:lnTo>
                    <a:pt x="422" y="88"/>
                  </a:lnTo>
                  <a:lnTo>
                    <a:pt x="430" y="72"/>
                  </a:lnTo>
                  <a:lnTo>
                    <a:pt x="413" y="32"/>
                  </a:lnTo>
                  <a:lnTo>
                    <a:pt x="346" y="0"/>
                  </a:lnTo>
                  <a:lnTo>
                    <a:pt x="295" y="0"/>
                  </a:lnTo>
                  <a:lnTo>
                    <a:pt x="262" y="40"/>
                  </a:lnTo>
                  <a:lnTo>
                    <a:pt x="262" y="112"/>
                  </a:lnTo>
                  <a:lnTo>
                    <a:pt x="245" y="184"/>
                  </a:lnTo>
                  <a:lnTo>
                    <a:pt x="186" y="168"/>
                  </a:lnTo>
                  <a:lnTo>
                    <a:pt x="144" y="184"/>
                  </a:lnTo>
                  <a:lnTo>
                    <a:pt x="43" y="136"/>
                  </a:lnTo>
                  <a:lnTo>
                    <a:pt x="0" y="160"/>
                  </a:lnTo>
                  <a:lnTo>
                    <a:pt x="51" y="216"/>
                  </a:lnTo>
                  <a:lnTo>
                    <a:pt x="144" y="256"/>
                  </a:lnTo>
                  <a:lnTo>
                    <a:pt x="177" y="296"/>
                  </a:lnTo>
                  <a:lnTo>
                    <a:pt x="177" y="336"/>
                  </a:lnTo>
                  <a:lnTo>
                    <a:pt x="220" y="368"/>
                  </a:lnTo>
                  <a:lnTo>
                    <a:pt x="220" y="416"/>
                  </a:lnTo>
                  <a:lnTo>
                    <a:pt x="228" y="464"/>
                  </a:lnTo>
                  <a:lnTo>
                    <a:pt x="245" y="504"/>
                  </a:lnTo>
                  <a:lnTo>
                    <a:pt x="262" y="552"/>
                  </a:lnTo>
                  <a:lnTo>
                    <a:pt x="295" y="560"/>
                  </a:lnTo>
                  <a:lnTo>
                    <a:pt x="329" y="576"/>
                  </a:lnTo>
                  <a:lnTo>
                    <a:pt x="354" y="584"/>
                  </a:lnTo>
                  <a:lnTo>
                    <a:pt x="354" y="600"/>
                  </a:lnTo>
                  <a:lnTo>
                    <a:pt x="363" y="616"/>
                  </a:lnTo>
                  <a:lnTo>
                    <a:pt x="354" y="632"/>
                  </a:lnTo>
                  <a:lnTo>
                    <a:pt x="321" y="696"/>
                  </a:lnTo>
                  <a:lnTo>
                    <a:pt x="236" y="832"/>
                  </a:lnTo>
                  <a:lnTo>
                    <a:pt x="203" y="864"/>
                  </a:lnTo>
                  <a:lnTo>
                    <a:pt x="177" y="896"/>
                  </a:lnTo>
                  <a:lnTo>
                    <a:pt x="177" y="936"/>
                  </a:lnTo>
                  <a:lnTo>
                    <a:pt x="186" y="976"/>
                  </a:lnTo>
                  <a:lnTo>
                    <a:pt x="211" y="1048"/>
                  </a:lnTo>
                  <a:lnTo>
                    <a:pt x="228" y="1080"/>
                  </a:lnTo>
                  <a:lnTo>
                    <a:pt x="228" y="1120"/>
                  </a:lnTo>
                  <a:lnTo>
                    <a:pt x="236" y="1160"/>
                  </a:lnTo>
                  <a:lnTo>
                    <a:pt x="253" y="1192"/>
                  </a:lnTo>
                  <a:lnTo>
                    <a:pt x="287" y="1208"/>
                  </a:lnTo>
                  <a:lnTo>
                    <a:pt x="321" y="1224"/>
                  </a:lnTo>
                  <a:lnTo>
                    <a:pt x="312" y="1272"/>
                  </a:lnTo>
                  <a:lnTo>
                    <a:pt x="363" y="1272"/>
                  </a:lnTo>
                  <a:lnTo>
                    <a:pt x="380" y="1264"/>
                  </a:lnTo>
                  <a:lnTo>
                    <a:pt x="405" y="1248"/>
                  </a:lnTo>
                  <a:lnTo>
                    <a:pt x="506" y="1192"/>
                  </a:lnTo>
                  <a:lnTo>
                    <a:pt x="599" y="1152"/>
                  </a:lnTo>
                  <a:lnTo>
                    <a:pt x="675" y="1112"/>
                  </a:lnTo>
                  <a:lnTo>
                    <a:pt x="700" y="1016"/>
                  </a:lnTo>
                  <a:lnTo>
                    <a:pt x="750" y="944"/>
                  </a:lnTo>
                  <a:lnTo>
                    <a:pt x="793" y="872"/>
                  </a:lnTo>
                  <a:lnTo>
                    <a:pt x="801" y="808"/>
                  </a:lnTo>
                  <a:lnTo>
                    <a:pt x="750" y="760"/>
                  </a:lnTo>
                  <a:close/>
                </a:path>
              </a:pathLst>
            </a:custGeom>
            <a:grpFill/>
            <a:ln w="127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1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4" name="Picture 11" descr="purple">
              <a:extLst>
                <a:ext uri="{FF2B5EF4-FFF2-40B4-BE49-F238E27FC236}">
                  <a16:creationId xmlns:a16="http://schemas.microsoft.com/office/drawing/2014/main" id="{17F70D35-BC46-368C-74CA-10F26DF238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rgbClr val="142A6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1150" y="4850490"/>
              <a:ext cx="889000" cy="722312"/>
            </a:xfrm>
            <a:prstGeom prst="rect">
              <a:avLst/>
            </a:prstGeom>
            <a:grpFill/>
            <a:ln>
              <a:noFill/>
            </a:ln>
          </p:spPr>
        </p:pic>
        <p:grpSp>
          <p:nvGrpSpPr>
            <p:cNvPr id="15" name="Grupo 159">
              <a:extLst>
                <a:ext uri="{FF2B5EF4-FFF2-40B4-BE49-F238E27FC236}">
                  <a16:creationId xmlns:a16="http://schemas.microsoft.com/office/drawing/2014/main" id="{505F781B-39AB-81C2-49A4-66E89CE6BE13}"/>
                </a:ext>
              </a:extLst>
            </p:cNvPr>
            <p:cNvGrpSpPr/>
            <p:nvPr/>
          </p:nvGrpSpPr>
          <p:grpSpPr>
            <a:xfrm>
              <a:off x="4981559" y="742293"/>
              <a:ext cx="7210441" cy="6657858"/>
              <a:chOff x="4981559" y="723894"/>
              <a:chExt cx="7210441" cy="6657858"/>
            </a:xfrm>
            <a:grpFill/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D01CE8BC-5D14-7279-3DCD-1771FE0AE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929" y="5247144"/>
                <a:ext cx="1682258" cy="1329053"/>
              </a:xfrm>
              <a:custGeom>
                <a:avLst/>
                <a:gdLst>
                  <a:gd name="T0" fmla="*/ 1154 w 1205"/>
                  <a:gd name="T1" fmla="*/ 336 h 952"/>
                  <a:gd name="T2" fmla="*/ 1036 w 1205"/>
                  <a:gd name="T3" fmla="*/ 296 h 952"/>
                  <a:gd name="T4" fmla="*/ 910 w 1205"/>
                  <a:gd name="T5" fmla="*/ 280 h 952"/>
                  <a:gd name="T6" fmla="*/ 859 w 1205"/>
                  <a:gd name="T7" fmla="*/ 232 h 952"/>
                  <a:gd name="T8" fmla="*/ 784 w 1205"/>
                  <a:gd name="T9" fmla="*/ 192 h 952"/>
                  <a:gd name="T10" fmla="*/ 716 w 1205"/>
                  <a:gd name="T11" fmla="*/ 144 h 952"/>
                  <a:gd name="T12" fmla="*/ 666 w 1205"/>
                  <a:gd name="T13" fmla="*/ 136 h 952"/>
                  <a:gd name="T14" fmla="*/ 598 w 1205"/>
                  <a:gd name="T15" fmla="*/ 128 h 952"/>
                  <a:gd name="T16" fmla="*/ 522 w 1205"/>
                  <a:gd name="T17" fmla="*/ 104 h 952"/>
                  <a:gd name="T18" fmla="*/ 387 w 1205"/>
                  <a:gd name="T19" fmla="*/ 64 h 952"/>
                  <a:gd name="T20" fmla="*/ 320 w 1205"/>
                  <a:gd name="T21" fmla="*/ 48 h 952"/>
                  <a:gd name="T22" fmla="*/ 202 w 1205"/>
                  <a:gd name="T23" fmla="*/ 16 h 952"/>
                  <a:gd name="T24" fmla="*/ 168 w 1205"/>
                  <a:gd name="T25" fmla="*/ 0 h 952"/>
                  <a:gd name="T26" fmla="*/ 135 w 1205"/>
                  <a:gd name="T27" fmla="*/ 8 h 952"/>
                  <a:gd name="T28" fmla="*/ 109 w 1205"/>
                  <a:gd name="T29" fmla="*/ 24 h 952"/>
                  <a:gd name="T30" fmla="*/ 17 w 1205"/>
                  <a:gd name="T31" fmla="*/ 48 h 952"/>
                  <a:gd name="T32" fmla="*/ 25 w 1205"/>
                  <a:gd name="T33" fmla="*/ 88 h 952"/>
                  <a:gd name="T34" fmla="*/ 34 w 1205"/>
                  <a:gd name="T35" fmla="*/ 128 h 952"/>
                  <a:gd name="T36" fmla="*/ 67 w 1205"/>
                  <a:gd name="T37" fmla="*/ 176 h 952"/>
                  <a:gd name="T38" fmla="*/ 84 w 1205"/>
                  <a:gd name="T39" fmla="*/ 200 h 952"/>
                  <a:gd name="T40" fmla="*/ 93 w 1205"/>
                  <a:gd name="T41" fmla="*/ 216 h 952"/>
                  <a:gd name="T42" fmla="*/ 143 w 1205"/>
                  <a:gd name="T43" fmla="*/ 232 h 952"/>
                  <a:gd name="T44" fmla="*/ 194 w 1205"/>
                  <a:gd name="T45" fmla="*/ 224 h 952"/>
                  <a:gd name="T46" fmla="*/ 236 w 1205"/>
                  <a:gd name="T47" fmla="*/ 256 h 952"/>
                  <a:gd name="T48" fmla="*/ 253 w 1205"/>
                  <a:gd name="T49" fmla="*/ 272 h 952"/>
                  <a:gd name="T50" fmla="*/ 261 w 1205"/>
                  <a:gd name="T51" fmla="*/ 296 h 952"/>
                  <a:gd name="T52" fmla="*/ 202 w 1205"/>
                  <a:gd name="T53" fmla="*/ 328 h 952"/>
                  <a:gd name="T54" fmla="*/ 177 w 1205"/>
                  <a:gd name="T55" fmla="*/ 368 h 952"/>
                  <a:gd name="T56" fmla="*/ 160 w 1205"/>
                  <a:gd name="T57" fmla="*/ 424 h 952"/>
                  <a:gd name="T58" fmla="*/ 143 w 1205"/>
                  <a:gd name="T59" fmla="*/ 432 h 952"/>
                  <a:gd name="T60" fmla="*/ 126 w 1205"/>
                  <a:gd name="T61" fmla="*/ 480 h 952"/>
                  <a:gd name="T62" fmla="*/ 76 w 1205"/>
                  <a:gd name="T63" fmla="*/ 488 h 952"/>
                  <a:gd name="T64" fmla="*/ 109 w 1205"/>
                  <a:gd name="T65" fmla="*/ 568 h 952"/>
                  <a:gd name="T66" fmla="*/ 101 w 1205"/>
                  <a:gd name="T67" fmla="*/ 584 h 952"/>
                  <a:gd name="T68" fmla="*/ 67 w 1205"/>
                  <a:gd name="T69" fmla="*/ 608 h 952"/>
                  <a:gd name="T70" fmla="*/ 67 w 1205"/>
                  <a:gd name="T71" fmla="*/ 656 h 952"/>
                  <a:gd name="T72" fmla="*/ 84 w 1205"/>
                  <a:gd name="T73" fmla="*/ 672 h 952"/>
                  <a:gd name="T74" fmla="*/ 17 w 1205"/>
                  <a:gd name="T75" fmla="*/ 720 h 952"/>
                  <a:gd name="T76" fmla="*/ 0 w 1205"/>
                  <a:gd name="T77" fmla="*/ 784 h 952"/>
                  <a:gd name="T78" fmla="*/ 59 w 1205"/>
                  <a:gd name="T79" fmla="*/ 792 h 952"/>
                  <a:gd name="T80" fmla="*/ 109 w 1205"/>
                  <a:gd name="T81" fmla="*/ 840 h 952"/>
                  <a:gd name="T82" fmla="*/ 118 w 1205"/>
                  <a:gd name="T83" fmla="*/ 920 h 952"/>
                  <a:gd name="T84" fmla="*/ 219 w 1205"/>
                  <a:gd name="T85" fmla="*/ 928 h 952"/>
                  <a:gd name="T86" fmla="*/ 295 w 1205"/>
                  <a:gd name="T87" fmla="*/ 912 h 952"/>
                  <a:gd name="T88" fmla="*/ 379 w 1205"/>
                  <a:gd name="T89" fmla="*/ 904 h 952"/>
                  <a:gd name="T90" fmla="*/ 539 w 1205"/>
                  <a:gd name="T91" fmla="*/ 928 h 952"/>
                  <a:gd name="T92" fmla="*/ 598 w 1205"/>
                  <a:gd name="T93" fmla="*/ 904 h 952"/>
                  <a:gd name="T94" fmla="*/ 649 w 1205"/>
                  <a:gd name="T95" fmla="*/ 856 h 952"/>
                  <a:gd name="T96" fmla="*/ 725 w 1205"/>
                  <a:gd name="T97" fmla="*/ 824 h 952"/>
                  <a:gd name="T98" fmla="*/ 784 w 1205"/>
                  <a:gd name="T99" fmla="*/ 752 h 952"/>
                  <a:gd name="T100" fmla="*/ 809 w 1205"/>
                  <a:gd name="T101" fmla="*/ 664 h 952"/>
                  <a:gd name="T102" fmla="*/ 842 w 1205"/>
                  <a:gd name="T103" fmla="*/ 592 h 952"/>
                  <a:gd name="T104" fmla="*/ 927 w 1205"/>
                  <a:gd name="T105" fmla="*/ 504 h 952"/>
                  <a:gd name="T106" fmla="*/ 944 w 1205"/>
                  <a:gd name="T107" fmla="*/ 472 h 952"/>
                  <a:gd name="T108" fmla="*/ 1019 w 1205"/>
                  <a:gd name="T109" fmla="*/ 440 h 952"/>
                  <a:gd name="T110" fmla="*/ 1196 w 1205"/>
                  <a:gd name="T111" fmla="*/ 376 h 952"/>
                  <a:gd name="T112" fmla="*/ 1205 w 1205"/>
                  <a:gd name="T113" fmla="*/ 368 h 952"/>
                  <a:gd name="T114" fmla="*/ 1180 w 1205"/>
                  <a:gd name="T115" fmla="*/ 352 h 95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205" h="952">
                    <a:moveTo>
                      <a:pt x="1180" y="352"/>
                    </a:moveTo>
                    <a:lnTo>
                      <a:pt x="1154" y="336"/>
                    </a:lnTo>
                    <a:lnTo>
                      <a:pt x="1095" y="320"/>
                    </a:lnTo>
                    <a:lnTo>
                      <a:pt x="1036" y="296"/>
                    </a:lnTo>
                    <a:lnTo>
                      <a:pt x="969" y="288"/>
                    </a:lnTo>
                    <a:lnTo>
                      <a:pt x="910" y="280"/>
                    </a:lnTo>
                    <a:lnTo>
                      <a:pt x="893" y="256"/>
                    </a:lnTo>
                    <a:lnTo>
                      <a:pt x="859" y="232"/>
                    </a:lnTo>
                    <a:lnTo>
                      <a:pt x="817" y="224"/>
                    </a:lnTo>
                    <a:lnTo>
                      <a:pt x="784" y="192"/>
                    </a:lnTo>
                    <a:lnTo>
                      <a:pt x="733" y="152"/>
                    </a:lnTo>
                    <a:lnTo>
                      <a:pt x="716" y="144"/>
                    </a:lnTo>
                    <a:lnTo>
                      <a:pt x="699" y="144"/>
                    </a:lnTo>
                    <a:lnTo>
                      <a:pt x="666" y="136"/>
                    </a:lnTo>
                    <a:lnTo>
                      <a:pt x="632" y="120"/>
                    </a:lnTo>
                    <a:lnTo>
                      <a:pt x="598" y="128"/>
                    </a:lnTo>
                    <a:lnTo>
                      <a:pt x="556" y="104"/>
                    </a:lnTo>
                    <a:lnTo>
                      <a:pt x="522" y="104"/>
                    </a:lnTo>
                    <a:lnTo>
                      <a:pt x="480" y="96"/>
                    </a:lnTo>
                    <a:lnTo>
                      <a:pt x="387" y="64"/>
                    </a:lnTo>
                    <a:lnTo>
                      <a:pt x="362" y="48"/>
                    </a:lnTo>
                    <a:lnTo>
                      <a:pt x="320" y="48"/>
                    </a:lnTo>
                    <a:lnTo>
                      <a:pt x="227" y="32"/>
                    </a:lnTo>
                    <a:lnTo>
                      <a:pt x="202" y="16"/>
                    </a:lnTo>
                    <a:lnTo>
                      <a:pt x="185" y="0"/>
                    </a:lnTo>
                    <a:lnTo>
                      <a:pt x="168" y="0"/>
                    </a:lnTo>
                    <a:lnTo>
                      <a:pt x="143" y="0"/>
                    </a:lnTo>
                    <a:lnTo>
                      <a:pt x="135" y="8"/>
                    </a:lnTo>
                    <a:lnTo>
                      <a:pt x="126" y="24"/>
                    </a:lnTo>
                    <a:lnTo>
                      <a:pt x="109" y="24"/>
                    </a:lnTo>
                    <a:lnTo>
                      <a:pt x="59" y="32"/>
                    </a:lnTo>
                    <a:lnTo>
                      <a:pt x="17" y="48"/>
                    </a:lnTo>
                    <a:lnTo>
                      <a:pt x="25" y="80"/>
                    </a:lnTo>
                    <a:lnTo>
                      <a:pt x="25" y="88"/>
                    </a:lnTo>
                    <a:lnTo>
                      <a:pt x="25" y="104"/>
                    </a:lnTo>
                    <a:lnTo>
                      <a:pt x="34" y="128"/>
                    </a:lnTo>
                    <a:lnTo>
                      <a:pt x="17" y="184"/>
                    </a:lnTo>
                    <a:lnTo>
                      <a:pt x="67" y="176"/>
                    </a:lnTo>
                    <a:lnTo>
                      <a:pt x="84" y="184"/>
                    </a:lnTo>
                    <a:lnTo>
                      <a:pt x="84" y="200"/>
                    </a:lnTo>
                    <a:lnTo>
                      <a:pt x="76" y="208"/>
                    </a:lnTo>
                    <a:lnTo>
                      <a:pt x="93" y="216"/>
                    </a:lnTo>
                    <a:lnTo>
                      <a:pt x="126" y="216"/>
                    </a:lnTo>
                    <a:lnTo>
                      <a:pt x="143" y="232"/>
                    </a:lnTo>
                    <a:lnTo>
                      <a:pt x="168" y="232"/>
                    </a:lnTo>
                    <a:lnTo>
                      <a:pt x="194" y="224"/>
                    </a:lnTo>
                    <a:lnTo>
                      <a:pt x="227" y="240"/>
                    </a:lnTo>
                    <a:lnTo>
                      <a:pt x="236" y="256"/>
                    </a:lnTo>
                    <a:lnTo>
                      <a:pt x="236" y="264"/>
                    </a:lnTo>
                    <a:lnTo>
                      <a:pt x="253" y="272"/>
                    </a:lnTo>
                    <a:lnTo>
                      <a:pt x="261" y="288"/>
                    </a:lnTo>
                    <a:lnTo>
                      <a:pt x="261" y="296"/>
                    </a:lnTo>
                    <a:lnTo>
                      <a:pt x="227" y="312"/>
                    </a:lnTo>
                    <a:lnTo>
                      <a:pt x="202" y="328"/>
                    </a:lnTo>
                    <a:lnTo>
                      <a:pt x="168" y="344"/>
                    </a:lnTo>
                    <a:lnTo>
                      <a:pt x="177" y="368"/>
                    </a:lnTo>
                    <a:lnTo>
                      <a:pt x="160" y="400"/>
                    </a:lnTo>
                    <a:lnTo>
                      <a:pt x="160" y="424"/>
                    </a:lnTo>
                    <a:lnTo>
                      <a:pt x="152" y="432"/>
                    </a:lnTo>
                    <a:lnTo>
                      <a:pt x="143" y="432"/>
                    </a:lnTo>
                    <a:lnTo>
                      <a:pt x="143" y="464"/>
                    </a:lnTo>
                    <a:lnTo>
                      <a:pt x="126" y="480"/>
                    </a:lnTo>
                    <a:lnTo>
                      <a:pt x="101" y="488"/>
                    </a:lnTo>
                    <a:lnTo>
                      <a:pt x="76" y="488"/>
                    </a:lnTo>
                    <a:lnTo>
                      <a:pt x="93" y="552"/>
                    </a:lnTo>
                    <a:lnTo>
                      <a:pt x="109" y="568"/>
                    </a:lnTo>
                    <a:lnTo>
                      <a:pt x="109" y="576"/>
                    </a:lnTo>
                    <a:lnTo>
                      <a:pt x="101" y="584"/>
                    </a:lnTo>
                    <a:lnTo>
                      <a:pt x="76" y="592"/>
                    </a:lnTo>
                    <a:lnTo>
                      <a:pt x="67" y="608"/>
                    </a:lnTo>
                    <a:lnTo>
                      <a:pt x="59" y="632"/>
                    </a:lnTo>
                    <a:lnTo>
                      <a:pt x="67" y="656"/>
                    </a:lnTo>
                    <a:lnTo>
                      <a:pt x="76" y="672"/>
                    </a:lnTo>
                    <a:lnTo>
                      <a:pt x="84" y="672"/>
                    </a:lnTo>
                    <a:lnTo>
                      <a:pt x="59" y="696"/>
                    </a:lnTo>
                    <a:lnTo>
                      <a:pt x="17" y="720"/>
                    </a:lnTo>
                    <a:lnTo>
                      <a:pt x="8" y="752"/>
                    </a:lnTo>
                    <a:lnTo>
                      <a:pt x="0" y="784"/>
                    </a:lnTo>
                    <a:lnTo>
                      <a:pt x="17" y="784"/>
                    </a:lnTo>
                    <a:lnTo>
                      <a:pt x="59" y="792"/>
                    </a:lnTo>
                    <a:lnTo>
                      <a:pt x="93" y="816"/>
                    </a:lnTo>
                    <a:lnTo>
                      <a:pt x="109" y="840"/>
                    </a:lnTo>
                    <a:lnTo>
                      <a:pt x="109" y="880"/>
                    </a:lnTo>
                    <a:lnTo>
                      <a:pt x="118" y="920"/>
                    </a:lnTo>
                    <a:lnTo>
                      <a:pt x="152" y="952"/>
                    </a:lnTo>
                    <a:lnTo>
                      <a:pt x="219" y="928"/>
                    </a:lnTo>
                    <a:lnTo>
                      <a:pt x="253" y="920"/>
                    </a:lnTo>
                    <a:lnTo>
                      <a:pt x="295" y="912"/>
                    </a:lnTo>
                    <a:lnTo>
                      <a:pt x="337" y="896"/>
                    </a:lnTo>
                    <a:lnTo>
                      <a:pt x="379" y="904"/>
                    </a:lnTo>
                    <a:lnTo>
                      <a:pt x="463" y="920"/>
                    </a:lnTo>
                    <a:lnTo>
                      <a:pt x="539" y="928"/>
                    </a:lnTo>
                    <a:lnTo>
                      <a:pt x="573" y="928"/>
                    </a:lnTo>
                    <a:lnTo>
                      <a:pt x="598" y="904"/>
                    </a:lnTo>
                    <a:lnTo>
                      <a:pt x="615" y="872"/>
                    </a:lnTo>
                    <a:lnTo>
                      <a:pt x="649" y="856"/>
                    </a:lnTo>
                    <a:lnTo>
                      <a:pt x="733" y="848"/>
                    </a:lnTo>
                    <a:lnTo>
                      <a:pt x="725" y="824"/>
                    </a:lnTo>
                    <a:lnTo>
                      <a:pt x="733" y="800"/>
                    </a:lnTo>
                    <a:lnTo>
                      <a:pt x="784" y="752"/>
                    </a:lnTo>
                    <a:lnTo>
                      <a:pt x="842" y="720"/>
                    </a:lnTo>
                    <a:lnTo>
                      <a:pt x="809" y="664"/>
                    </a:lnTo>
                    <a:lnTo>
                      <a:pt x="809" y="624"/>
                    </a:lnTo>
                    <a:lnTo>
                      <a:pt x="842" y="592"/>
                    </a:lnTo>
                    <a:lnTo>
                      <a:pt x="885" y="536"/>
                    </a:lnTo>
                    <a:lnTo>
                      <a:pt x="927" y="504"/>
                    </a:lnTo>
                    <a:lnTo>
                      <a:pt x="935" y="504"/>
                    </a:lnTo>
                    <a:lnTo>
                      <a:pt x="944" y="472"/>
                    </a:lnTo>
                    <a:lnTo>
                      <a:pt x="977" y="448"/>
                    </a:lnTo>
                    <a:lnTo>
                      <a:pt x="1019" y="440"/>
                    </a:lnTo>
                    <a:lnTo>
                      <a:pt x="1095" y="432"/>
                    </a:lnTo>
                    <a:lnTo>
                      <a:pt x="1196" y="376"/>
                    </a:lnTo>
                    <a:lnTo>
                      <a:pt x="1205" y="376"/>
                    </a:lnTo>
                    <a:lnTo>
                      <a:pt x="1205" y="368"/>
                    </a:lnTo>
                    <a:lnTo>
                      <a:pt x="1205" y="344"/>
                    </a:lnTo>
                    <a:lnTo>
                      <a:pt x="1180" y="35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75490860-FBA2-3511-C2D5-9E6F33300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559" y="5492851"/>
                <a:ext cx="587744" cy="859976"/>
              </a:xfrm>
              <a:custGeom>
                <a:avLst/>
                <a:gdLst>
                  <a:gd name="T0" fmla="*/ 396 w 421"/>
                  <a:gd name="T1" fmla="*/ 88 h 616"/>
                  <a:gd name="T2" fmla="*/ 387 w 421"/>
                  <a:gd name="T3" fmla="*/ 64 h 616"/>
                  <a:gd name="T4" fmla="*/ 328 w 421"/>
                  <a:gd name="T5" fmla="*/ 56 h 616"/>
                  <a:gd name="T6" fmla="*/ 286 w 421"/>
                  <a:gd name="T7" fmla="*/ 40 h 616"/>
                  <a:gd name="T8" fmla="*/ 236 w 421"/>
                  <a:gd name="T9" fmla="*/ 32 h 616"/>
                  <a:gd name="T10" fmla="*/ 244 w 421"/>
                  <a:gd name="T11" fmla="*/ 8 h 616"/>
                  <a:gd name="T12" fmla="*/ 177 w 421"/>
                  <a:gd name="T13" fmla="*/ 8 h 616"/>
                  <a:gd name="T14" fmla="*/ 160 w 421"/>
                  <a:gd name="T15" fmla="*/ 112 h 616"/>
                  <a:gd name="T16" fmla="*/ 126 w 421"/>
                  <a:gd name="T17" fmla="*/ 208 h 616"/>
                  <a:gd name="T18" fmla="*/ 42 w 421"/>
                  <a:gd name="T19" fmla="*/ 304 h 616"/>
                  <a:gd name="T20" fmla="*/ 8 w 421"/>
                  <a:gd name="T21" fmla="*/ 368 h 616"/>
                  <a:gd name="T22" fmla="*/ 34 w 421"/>
                  <a:gd name="T23" fmla="*/ 384 h 616"/>
                  <a:gd name="T24" fmla="*/ 25 w 421"/>
                  <a:gd name="T25" fmla="*/ 408 h 616"/>
                  <a:gd name="T26" fmla="*/ 67 w 421"/>
                  <a:gd name="T27" fmla="*/ 416 h 616"/>
                  <a:gd name="T28" fmla="*/ 42 w 421"/>
                  <a:gd name="T29" fmla="*/ 512 h 616"/>
                  <a:gd name="T30" fmla="*/ 8 w 421"/>
                  <a:gd name="T31" fmla="*/ 576 h 616"/>
                  <a:gd name="T32" fmla="*/ 8 w 421"/>
                  <a:gd name="T33" fmla="*/ 592 h 616"/>
                  <a:gd name="T34" fmla="*/ 84 w 421"/>
                  <a:gd name="T35" fmla="*/ 600 h 616"/>
                  <a:gd name="T36" fmla="*/ 160 w 421"/>
                  <a:gd name="T37" fmla="*/ 608 h 616"/>
                  <a:gd name="T38" fmla="*/ 177 w 421"/>
                  <a:gd name="T39" fmla="*/ 544 h 616"/>
                  <a:gd name="T40" fmla="*/ 244 w 421"/>
                  <a:gd name="T41" fmla="*/ 496 h 616"/>
                  <a:gd name="T42" fmla="*/ 227 w 421"/>
                  <a:gd name="T43" fmla="*/ 480 h 616"/>
                  <a:gd name="T44" fmla="*/ 227 w 421"/>
                  <a:gd name="T45" fmla="*/ 432 h 616"/>
                  <a:gd name="T46" fmla="*/ 261 w 421"/>
                  <a:gd name="T47" fmla="*/ 408 h 616"/>
                  <a:gd name="T48" fmla="*/ 269 w 421"/>
                  <a:gd name="T49" fmla="*/ 392 h 616"/>
                  <a:gd name="T50" fmla="*/ 236 w 421"/>
                  <a:gd name="T51" fmla="*/ 312 h 616"/>
                  <a:gd name="T52" fmla="*/ 286 w 421"/>
                  <a:gd name="T53" fmla="*/ 304 h 616"/>
                  <a:gd name="T54" fmla="*/ 303 w 421"/>
                  <a:gd name="T55" fmla="*/ 256 h 616"/>
                  <a:gd name="T56" fmla="*/ 320 w 421"/>
                  <a:gd name="T57" fmla="*/ 248 h 616"/>
                  <a:gd name="T58" fmla="*/ 337 w 421"/>
                  <a:gd name="T59" fmla="*/ 192 h 616"/>
                  <a:gd name="T60" fmla="*/ 362 w 421"/>
                  <a:gd name="T61" fmla="*/ 152 h 616"/>
                  <a:gd name="T62" fmla="*/ 421 w 421"/>
                  <a:gd name="T63" fmla="*/ 120 h 616"/>
                  <a:gd name="T64" fmla="*/ 413 w 421"/>
                  <a:gd name="T65" fmla="*/ 96 h 61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421" h="616">
                    <a:moveTo>
                      <a:pt x="413" y="96"/>
                    </a:moveTo>
                    <a:lnTo>
                      <a:pt x="396" y="88"/>
                    </a:lnTo>
                    <a:lnTo>
                      <a:pt x="396" y="80"/>
                    </a:lnTo>
                    <a:lnTo>
                      <a:pt x="387" y="64"/>
                    </a:lnTo>
                    <a:lnTo>
                      <a:pt x="354" y="48"/>
                    </a:lnTo>
                    <a:lnTo>
                      <a:pt x="328" y="56"/>
                    </a:lnTo>
                    <a:lnTo>
                      <a:pt x="303" y="56"/>
                    </a:lnTo>
                    <a:lnTo>
                      <a:pt x="286" y="40"/>
                    </a:lnTo>
                    <a:lnTo>
                      <a:pt x="253" y="40"/>
                    </a:lnTo>
                    <a:lnTo>
                      <a:pt x="236" y="32"/>
                    </a:lnTo>
                    <a:lnTo>
                      <a:pt x="244" y="24"/>
                    </a:lnTo>
                    <a:lnTo>
                      <a:pt x="244" y="8"/>
                    </a:lnTo>
                    <a:lnTo>
                      <a:pt x="227" y="0"/>
                    </a:lnTo>
                    <a:lnTo>
                      <a:pt x="177" y="8"/>
                    </a:lnTo>
                    <a:lnTo>
                      <a:pt x="177" y="40"/>
                    </a:lnTo>
                    <a:lnTo>
                      <a:pt x="160" y="112"/>
                    </a:lnTo>
                    <a:lnTo>
                      <a:pt x="143" y="144"/>
                    </a:lnTo>
                    <a:lnTo>
                      <a:pt x="126" y="208"/>
                    </a:lnTo>
                    <a:lnTo>
                      <a:pt x="92" y="256"/>
                    </a:lnTo>
                    <a:lnTo>
                      <a:pt x="42" y="304"/>
                    </a:lnTo>
                    <a:lnTo>
                      <a:pt x="17" y="352"/>
                    </a:lnTo>
                    <a:lnTo>
                      <a:pt x="8" y="368"/>
                    </a:lnTo>
                    <a:lnTo>
                      <a:pt x="17" y="376"/>
                    </a:lnTo>
                    <a:lnTo>
                      <a:pt x="34" y="384"/>
                    </a:lnTo>
                    <a:lnTo>
                      <a:pt x="25" y="400"/>
                    </a:lnTo>
                    <a:lnTo>
                      <a:pt x="25" y="408"/>
                    </a:lnTo>
                    <a:lnTo>
                      <a:pt x="34" y="416"/>
                    </a:lnTo>
                    <a:lnTo>
                      <a:pt x="67" y="416"/>
                    </a:lnTo>
                    <a:lnTo>
                      <a:pt x="42" y="480"/>
                    </a:lnTo>
                    <a:lnTo>
                      <a:pt x="42" y="512"/>
                    </a:lnTo>
                    <a:lnTo>
                      <a:pt x="25" y="544"/>
                    </a:lnTo>
                    <a:lnTo>
                      <a:pt x="8" y="576"/>
                    </a:lnTo>
                    <a:lnTo>
                      <a:pt x="0" y="592"/>
                    </a:lnTo>
                    <a:lnTo>
                      <a:pt x="8" y="592"/>
                    </a:lnTo>
                    <a:lnTo>
                      <a:pt x="50" y="592"/>
                    </a:lnTo>
                    <a:lnTo>
                      <a:pt x="84" y="600"/>
                    </a:lnTo>
                    <a:lnTo>
                      <a:pt x="126" y="616"/>
                    </a:lnTo>
                    <a:lnTo>
                      <a:pt x="160" y="608"/>
                    </a:lnTo>
                    <a:lnTo>
                      <a:pt x="168" y="576"/>
                    </a:lnTo>
                    <a:lnTo>
                      <a:pt x="177" y="544"/>
                    </a:lnTo>
                    <a:lnTo>
                      <a:pt x="219" y="520"/>
                    </a:lnTo>
                    <a:lnTo>
                      <a:pt x="244" y="496"/>
                    </a:lnTo>
                    <a:lnTo>
                      <a:pt x="236" y="496"/>
                    </a:lnTo>
                    <a:lnTo>
                      <a:pt x="227" y="480"/>
                    </a:lnTo>
                    <a:lnTo>
                      <a:pt x="219" y="456"/>
                    </a:lnTo>
                    <a:lnTo>
                      <a:pt x="227" y="432"/>
                    </a:lnTo>
                    <a:lnTo>
                      <a:pt x="236" y="416"/>
                    </a:lnTo>
                    <a:lnTo>
                      <a:pt x="261" y="408"/>
                    </a:lnTo>
                    <a:lnTo>
                      <a:pt x="269" y="400"/>
                    </a:lnTo>
                    <a:lnTo>
                      <a:pt x="269" y="392"/>
                    </a:lnTo>
                    <a:lnTo>
                      <a:pt x="253" y="376"/>
                    </a:lnTo>
                    <a:lnTo>
                      <a:pt x="236" y="312"/>
                    </a:lnTo>
                    <a:lnTo>
                      <a:pt x="261" y="312"/>
                    </a:lnTo>
                    <a:lnTo>
                      <a:pt x="286" y="304"/>
                    </a:lnTo>
                    <a:lnTo>
                      <a:pt x="303" y="288"/>
                    </a:lnTo>
                    <a:lnTo>
                      <a:pt x="303" y="256"/>
                    </a:lnTo>
                    <a:lnTo>
                      <a:pt x="312" y="256"/>
                    </a:lnTo>
                    <a:lnTo>
                      <a:pt x="320" y="248"/>
                    </a:lnTo>
                    <a:lnTo>
                      <a:pt x="320" y="224"/>
                    </a:lnTo>
                    <a:lnTo>
                      <a:pt x="337" y="192"/>
                    </a:lnTo>
                    <a:lnTo>
                      <a:pt x="328" y="168"/>
                    </a:lnTo>
                    <a:lnTo>
                      <a:pt x="362" y="152"/>
                    </a:lnTo>
                    <a:lnTo>
                      <a:pt x="387" y="136"/>
                    </a:lnTo>
                    <a:lnTo>
                      <a:pt x="421" y="120"/>
                    </a:lnTo>
                    <a:lnTo>
                      <a:pt x="421" y="112"/>
                    </a:lnTo>
                    <a:lnTo>
                      <a:pt x="413" y="9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F377FA59-E2A6-A375-74B1-BB55E93834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929" y="5247144"/>
                <a:ext cx="1682258" cy="1329053"/>
              </a:xfrm>
              <a:custGeom>
                <a:avLst/>
                <a:gdLst>
                  <a:gd name="T0" fmla="*/ 1154 w 1205"/>
                  <a:gd name="T1" fmla="*/ 336 h 952"/>
                  <a:gd name="T2" fmla="*/ 1036 w 1205"/>
                  <a:gd name="T3" fmla="*/ 296 h 952"/>
                  <a:gd name="T4" fmla="*/ 910 w 1205"/>
                  <a:gd name="T5" fmla="*/ 280 h 952"/>
                  <a:gd name="T6" fmla="*/ 859 w 1205"/>
                  <a:gd name="T7" fmla="*/ 232 h 952"/>
                  <a:gd name="T8" fmla="*/ 784 w 1205"/>
                  <a:gd name="T9" fmla="*/ 192 h 952"/>
                  <a:gd name="T10" fmla="*/ 716 w 1205"/>
                  <a:gd name="T11" fmla="*/ 144 h 952"/>
                  <a:gd name="T12" fmla="*/ 666 w 1205"/>
                  <a:gd name="T13" fmla="*/ 136 h 952"/>
                  <a:gd name="T14" fmla="*/ 598 w 1205"/>
                  <a:gd name="T15" fmla="*/ 128 h 952"/>
                  <a:gd name="T16" fmla="*/ 522 w 1205"/>
                  <a:gd name="T17" fmla="*/ 104 h 952"/>
                  <a:gd name="T18" fmla="*/ 387 w 1205"/>
                  <a:gd name="T19" fmla="*/ 64 h 952"/>
                  <a:gd name="T20" fmla="*/ 320 w 1205"/>
                  <a:gd name="T21" fmla="*/ 48 h 952"/>
                  <a:gd name="T22" fmla="*/ 202 w 1205"/>
                  <a:gd name="T23" fmla="*/ 16 h 952"/>
                  <a:gd name="T24" fmla="*/ 168 w 1205"/>
                  <a:gd name="T25" fmla="*/ 0 h 952"/>
                  <a:gd name="T26" fmla="*/ 135 w 1205"/>
                  <a:gd name="T27" fmla="*/ 8 h 952"/>
                  <a:gd name="T28" fmla="*/ 109 w 1205"/>
                  <a:gd name="T29" fmla="*/ 24 h 952"/>
                  <a:gd name="T30" fmla="*/ 17 w 1205"/>
                  <a:gd name="T31" fmla="*/ 48 h 952"/>
                  <a:gd name="T32" fmla="*/ 25 w 1205"/>
                  <a:gd name="T33" fmla="*/ 88 h 952"/>
                  <a:gd name="T34" fmla="*/ 34 w 1205"/>
                  <a:gd name="T35" fmla="*/ 128 h 952"/>
                  <a:gd name="T36" fmla="*/ 67 w 1205"/>
                  <a:gd name="T37" fmla="*/ 176 h 952"/>
                  <a:gd name="T38" fmla="*/ 84 w 1205"/>
                  <a:gd name="T39" fmla="*/ 200 h 952"/>
                  <a:gd name="T40" fmla="*/ 93 w 1205"/>
                  <a:gd name="T41" fmla="*/ 216 h 952"/>
                  <a:gd name="T42" fmla="*/ 143 w 1205"/>
                  <a:gd name="T43" fmla="*/ 232 h 952"/>
                  <a:gd name="T44" fmla="*/ 194 w 1205"/>
                  <a:gd name="T45" fmla="*/ 224 h 952"/>
                  <a:gd name="T46" fmla="*/ 236 w 1205"/>
                  <a:gd name="T47" fmla="*/ 256 h 952"/>
                  <a:gd name="T48" fmla="*/ 253 w 1205"/>
                  <a:gd name="T49" fmla="*/ 272 h 952"/>
                  <a:gd name="T50" fmla="*/ 261 w 1205"/>
                  <a:gd name="T51" fmla="*/ 296 h 952"/>
                  <a:gd name="T52" fmla="*/ 202 w 1205"/>
                  <a:gd name="T53" fmla="*/ 328 h 952"/>
                  <a:gd name="T54" fmla="*/ 177 w 1205"/>
                  <a:gd name="T55" fmla="*/ 368 h 952"/>
                  <a:gd name="T56" fmla="*/ 160 w 1205"/>
                  <a:gd name="T57" fmla="*/ 424 h 952"/>
                  <a:gd name="T58" fmla="*/ 143 w 1205"/>
                  <a:gd name="T59" fmla="*/ 432 h 952"/>
                  <a:gd name="T60" fmla="*/ 126 w 1205"/>
                  <a:gd name="T61" fmla="*/ 480 h 952"/>
                  <a:gd name="T62" fmla="*/ 76 w 1205"/>
                  <a:gd name="T63" fmla="*/ 488 h 952"/>
                  <a:gd name="T64" fmla="*/ 109 w 1205"/>
                  <a:gd name="T65" fmla="*/ 568 h 952"/>
                  <a:gd name="T66" fmla="*/ 101 w 1205"/>
                  <a:gd name="T67" fmla="*/ 584 h 952"/>
                  <a:gd name="T68" fmla="*/ 67 w 1205"/>
                  <a:gd name="T69" fmla="*/ 608 h 952"/>
                  <a:gd name="T70" fmla="*/ 67 w 1205"/>
                  <a:gd name="T71" fmla="*/ 656 h 952"/>
                  <a:gd name="T72" fmla="*/ 84 w 1205"/>
                  <a:gd name="T73" fmla="*/ 672 h 952"/>
                  <a:gd name="T74" fmla="*/ 17 w 1205"/>
                  <a:gd name="T75" fmla="*/ 720 h 952"/>
                  <a:gd name="T76" fmla="*/ 0 w 1205"/>
                  <a:gd name="T77" fmla="*/ 784 h 952"/>
                  <a:gd name="T78" fmla="*/ 59 w 1205"/>
                  <a:gd name="T79" fmla="*/ 792 h 952"/>
                  <a:gd name="T80" fmla="*/ 109 w 1205"/>
                  <a:gd name="T81" fmla="*/ 840 h 952"/>
                  <a:gd name="T82" fmla="*/ 118 w 1205"/>
                  <a:gd name="T83" fmla="*/ 920 h 952"/>
                  <a:gd name="T84" fmla="*/ 219 w 1205"/>
                  <a:gd name="T85" fmla="*/ 928 h 952"/>
                  <a:gd name="T86" fmla="*/ 295 w 1205"/>
                  <a:gd name="T87" fmla="*/ 912 h 952"/>
                  <a:gd name="T88" fmla="*/ 379 w 1205"/>
                  <a:gd name="T89" fmla="*/ 904 h 952"/>
                  <a:gd name="T90" fmla="*/ 539 w 1205"/>
                  <a:gd name="T91" fmla="*/ 928 h 952"/>
                  <a:gd name="T92" fmla="*/ 598 w 1205"/>
                  <a:gd name="T93" fmla="*/ 904 h 952"/>
                  <a:gd name="T94" fmla="*/ 649 w 1205"/>
                  <a:gd name="T95" fmla="*/ 856 h 952"/>
                  <a:gd name="T96" fmla="*/ 725 w 1205"/>
                  <a:gd name="T97" fmla="*/ 824 h 952"/>
                  <a:gd name="T98" fmla="*/ 784 w 1205"/>
                  <a:gd name="T99" fmla="*/ 752 h 952"/>
                  <a:gd name="T100" fmla="*/ 809 w 1205"/>
                  <a:gd name="T101" fmla="*/ 664 h 952"/>
                  <a:gd name="T102" fmla="*/ 842 w 1205"/>
                  <a:gd name="T103" fmla="*/ 592 h 952"/>
                  <a:gd name="T104" fmla="*/ 927 w 1205"/>
                  <a:gd name="T105" fmla="*/ 504 h 952"/>
                  <a:gd name="T106" fmla="*/ 944 w 1205"/>
                  <a:gd name="T107" fmla="*/ 472 h 952"/>
                  <a:gd name="T108" fmla="*/ 944 w 1205"/>
                  <a:gd name="T109" fmla="*/ 472 h 952"/>
                  <a:gd name="T110" fmla="*/ 1019 w 1205"/>
                  <a:gd name="T111" fmla="*/ 440 h 952"/>
                  <a:gd name="T112" fmla="*/ 1196 w 1205"/>
                  <a:gd name="T113" fmla="*/ 376 h 952"/>
                  <a:gd name="T114" fmla="*/ 1205 w 1205"/>
                  <a:gd name="T115" fmla="*/ 368 h 952"/>
                  <a:gd name="T116" fmla="*/ 1205 w 1205"/>
                  <a:gd name="T117" fmla="*/ 344 h 95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205" h="952">
                    <a:moveTo>
                      <a:pt x="1180" y="352"/>
                    </a:moveTo>
                    <a:lnTo>
                      <a:pt x="1154" y="336"/>
                    </a:lnTo>
                    <a:lnTo>
                      <a:pt x="1095" y="320"/>
                    </a:lnTo>
                    <a:lnTo>
                      <a:pt x="1036" y="296"/>
                    </a:lnTo>
                    <a:lnTo>
                      <a:pt x="969" y="288"/>
                    </a:lnTo>
                    <a:lnTo>
                      <a:pt x="910" y="280"/>
                    </a:lnTo>
                    <a:lnTo>
                      <a:pt x="893" y="256"/>
                    </a:lnTo>
                    <a:lnTo>
                      <a:pt x="859" y="232"/>
                    </a:lnTo>
                    <a:lnTo>
                      <a:pt x="817" y="224"/>
                    </a:lnTo>
                    <a:lnTo>
                      <a:pt x="784" y="192"/>
                    </a:lnTo>
                    <a:lnTo>
                      <a:pt x="733" y="152"/>
                    </a:lnTo>
                    <a:lnTo>
                      <a:pt x="716" y="144"/>
                    </a:lnTo>
                    <a:lnTo>
                      <a:pt x="699" y="144"/>
                    </a:lnTo>
                    <a:lnTo>
                      <a:pt x="666" y="136"/>
                    </a:lnTo>
                    <a:lnTo>
                      <a:pt x="632" y="120"/>
                    </a:lnTo>
                    <a:lnTo>
                      <a:pt x="598" y="128"/>
                    </a:lnTo>
                    <a:lnTo>
                      <a:pt x="556" y="104"/>
                    </a:lnTo>
                    <a:lnTo>
                      <a:pt x="522" y="104"/>
                    </a:lnTo>
                    <a:lnTo>
                      <a:pt x="480" y="96"/>
                    </a:lnTo>
                    <a:lnTo>
                      <a:pt x="387" y="64"/>
                    </a:lnTo>
                    <a:lnTo>
                      <a:pt x="362" y="48"/>
                    </a:lnTo>
                    <a:lnTo>
                      <a:pt x="320" y="48"/>
                    </a:lnTo>
                    <a:lnTo>
                      <a:pt x="227" y="32"/>
                    </a:lnTo>
                    <a:lnTo>
                      <a:pt x="202" y="16"/>
                    </a:lnTo>
                    <a:lnTo>
                      <a:pt x="185" y="0"/>
                    </a:lnTo>
                    <a:lnTo>
                      <a:pt x="168" y="0"/>
                    </a:lnTo>
                    <a:lnTo>
                      <a:pt x="143" y="0"/>
                    </a:lnTo>
                    <a:lnTo>
                      <a:pt x="135" y="8"/>
                    </a:lnTo>
                    <a:lnTo>
                      <a:pt x="126" y="24"/>
                    </a:lnTo>
                    <a:lnTo>
                      <a:pt x="109" y="24"/>
                    </a:lnTo>
                    <a:lnTo>
                      <a:pt x="59" y="32"/>
                    </a:lnTo>
                    <a:lnTo>
                      <a:pt x="17" y="48"/>
                    </a:lnTo>
                    <a:lnTo>
                      <a:pt x="25" y="80"/>
                    </a:lnTo>
                    <a:lnTo>
                      <a:pt x="25" y="88"/>
                    </a:lnTo>
                    <a:lnTo>
                      <a:pt x="25" y="104"/>
                    </a:lnTo>
                    <a:lnTo>
                      <a:pt x="34" y="128"/>
                    </a:lnTo>
                    <a:lnTo>
                      <a:pt x="17" y="184"/>
                    </a:lnTo>
                    <a:lnTo>
                      <a:pt x="67" y="176"/>
                    </a:lnTo>
                    <a:lnTo>
                      <a:pt x="84" y="184"/>
                    </a:lnTo>
                    <a:lnTo>
                      <a:pt x="84" y="200"/>
                    </a:lnTo>
                    <a:lnTo>
                      <a:pt x="76" y="208"/>
                    </a:lnTo>
                    <a:lnTo>
                      <a:pt x="93" y="216"/>
                    </a:lnTo>
                    <a:lnTo>
                      <a:pt x="126" y="216"/>
                    </a:lnTo>
                    <a:lnTo>
                      <a:pt x="143" y="232"/>
                    </a:lnTo>
                    <a:lnTo>
                      <a:pt x="168" y="232"/>
                    </a:lnTo>
                    <a:lnTo>
                      <a:pt x="194" y="224"/>
                    </a:lnTo>
                    <a:lnTo>
                      <a:pt x="227" y="240"/>
                    </a:lnTo>
                    <a:lnTo>
                      <a:pt x="236" y="256"/>
                    </a:lnTo>
                    <a:lnTo>
                      <a:pt x="236" y="264"/>
                    </a:lnTo>
                    <a:lnTo>
                      <a:pt x="253" y="272"/>
                    </a:lnTo>
                    <a:lnTo>
                      <a:pt x="261" y="288"/>
                    </a:lnTo>
                    <a:lnTo>
                      <a:pt x="261" y="296"/>
                    </a:lnTo>
                    <a:lnTo>
                      <a:pt x="227" y="312"/>
                    </a:lnTo>
                    <a:lnTo>
                      <a:pt x="202" y="328"/>
                    </a:lnTo>
                    <a:lnTo>
                      <a:pt x="168" y="344"/>
                    </a:lnTo>
                    <a:lnTo>
                      <a:pt x="177" y="368"/>
                    </a:lnTo>
                    <a:lnTo>
                      <a:pt x="160" y="400"/>
                    </a:lnTo>
                    <a:lnTo>
                      <a:pt x="160" y="424"/>
                    </a:lnTo>
                    <a:lnTo>
                      <a:pt x="152" y="432"/>
                    </a:lnTo>
                    <a:lnTo>
                      <a:pt x="143" y="432"/>
                    </a:lnTo>
                    <a:lnTo>
                      <a:pt x="143" y="464"/>
                    </a:lnTo>
                    <a:lnTo>
                      <a:pt x="126" y="480"/>
                    </a:lnTo>
                    <a:lnTo>
                      <a:pt x="101" y="488"/>
                    </a:lnTo>
                    <a:lnTo>
                      <a:pt x="76" y="488"/>
                    </a:lnTo>
                    <a:lnTo>
                      <a:pt x="93" y="552"/>
                    </a:lnTo>
                    <a:lnTo>
                      <a:pt x="109" y="568"/>
                    </a:lnTo>
                    <a:lnTo>
                      <a:pt x="109" y="576"/>
                    </a:lnTo>
                    <a:lnTo>
                      <a:pt x="101" y="584"/>
                    </a:lnTo>
                    <a:lnTo>
                      <a:pt x="76" y="592"/>
                    </a:lnTo>
                    <a:lnTo>
                      <a:pt x="67" y="608"/>
                    </a:lnTo>
                    <a:lnTo>
                      <a:pt x="59" y="632"/>
                    </a:lnTo>
                    <a:lnTo>
                      <a:pt x="67" y="656"/>
                    </a:lnTo>
                    <a:lnTo>
                      <a:pt x="76" y="672"/>
                    </a:lnTo>
                    <a:lnTo>
                      <a:pt x="84" y="672"/>
                    </a:lnTo>
                    <a:lnTo>
                      <a:pt x="59" y="696"/>
                    </a:lnTo>
                    <a:lnTo>
                      <a:pt x="17" y="720"/>
                    </a:lnTo>
                    <a:lnTo>
                      <a:pt x="8" y="752"/>
                    </a:lnTo>
                    <a:lnTo>
                      <a:pt x="0" y="784"/>
                    </a:lnTo>
                    <a:lnTo>
                      <a:pt x="17" y="784"/>
                    </a:lnTo>
                    <a:lnTo>
                      <a:pt x="59" y="792"/>
                    </a:lnTo>
                    <a:lnTo>
                      <a:pt x="93" y="816"/>
                    </a:lnTo>
                    <a:lnTo>
                      <a:pt x="109" y="840"/>
                    </a:lnTo>
                    <a:lnTo>
                      <a:pt x="109" y="880"/>
                    </a:lnTo>
                    <a:lnTo>
                      <a:pt x="118" y="920"/>
                    </a:lnTo>
                    <a:lnTo>
                      <a:pt x="152" y="952"/>
                    </a:lnTo>
                    <a:lnTo>
                      <a:pt x="219" y="928"/>
                    </a:lnTo>
                    <a:lnTo>
                      <a:pt x="253" y="920"/>
                    </a:lnTo>
                    <a:lnTo>
                      <a:pt x="295" y="912"/>
                    </a:lnTo>
                    <a:lnTo>
                      <a:pt x="337" y="896"/>
                    </a:lnTo>
                    <a:lnTo>
                      <a:pt x="379" y="904"/>
                    </a:lnTo>
                    <a:lnTo>
                      <a:pt x="463" y="920"/>
                    </a:lnTo>
                    <a:lnTo>
                      <a:pt x="539" y="928"/>
                    </a:lnTo>
                    <a:lnTo>
                      <a:pt x="573" y="928"/>
                    </a:lnTo>
                    <a:lnTo>
                      <a:pt x="598" y="904"/>
                    </a:lnTo>
                    <a:lnTo>
                      <a:pt x="615" y="872"/>
                    </a:lnTo>
                    <a:lnTo>
                      <a:pt x="649" y="856"/>
                    </a:lnTo>
                    <a:lnTo>
                      <a:pt x="733" y="848"/>
                    </a:lnTo>
                    <a:lnTo>
                      <a:pt x="725" y="824"/>
                    </a:lnTo>
                    <a:lnTo>
                      <a:pt x="733" y="800"/>
                    </a:lnTo>
                    <a:lnTo>
                      <a:pt x="784" y="752"/>
                    </a:lnTo>
                    <a:lnTo>
                      <a:pt x="842" y="720"/>
                    </a:lnTo>
                    <a:lnTo>
                      <a:pt x="809" y="664"/>
                    </a:lnTo>
                    <a:lnTo>
                      <a:pt x="809" y="624"/>
                    </a:lnTo>
                    <a:lnTo>
                      <a:pt x="842" y="592"/>
                    </a:lnTo>
                    <a:lnTo>
                      <a:pt x="885" y="536"/>
                    </a:lnTo>
                    <a:lnTo>
                      <a:pt x="927" y="504"/>
                    </a:lnTo>
                    <a:lnTo>
                      <a:pt x="935" y="504"/>
                    </a:lnTo>
                    <a:lnTo>
                      <a:pt x="944" y="472"/>
                    </a:lnTo>
                    <a:lnTo>
                      <a:pt x="977" y="448"/>
                    </a:lnTo>
                    <a:lnTo>
                      <a:pt x="1019" y="440"/>
                    </a:lnTo>
                    <a:lnTo>
                      <a:pt x="1095" y="432"/>
                    </a:lnTo>
                    <a:lnTo>
                      <a:pt x="1196" y="376"/>
                    </a:lnTo>
                    <a:lnTo>
                      <a:pt x="1205" y="376"/>
                    </a:lnTo>
                    <a:lnTo>
                      <a:pt x="1205" y="368"/>
                    </a:lnTo>
                    <a:lnTo>
                      <a:pt x="1205" y="344"/>
                    </a:lnTo>
                    <a:lnTo>
                      <a:pt x="1180" y="352"/>
                    </a:lnTo>
                    <a:close/>
                  </a:path>
                </a:pathLst>
              </a:custGeom>
              <a:grpFill/>
              <a:ln w="1270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7E6F7F73-09AD-236A-FD2B-65E278E81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559" y="5492851"/>
                <a:ext cx="587744" cy="859976"/>
              </a:xfrm>
              <a:custGeom>
                <a:avLst/>
                <a:gdLst>
                  <a:gd name="T0" fmla="*/ 396 w 421"/>
                  <a:gd name="T1" fmla="*/ 88 h 616"/>
                  <a:gd name="T2" fmla="*/ 387 w 421"/>
                  <a:gd name="T3" fmla="*/ 64 h 616"/>
                  <a:gd name="T4" fmla="*/ 328 w 421"/>
                  <a:gd name="T5" fmla="*/ 56 h 616"/>
                  <a:gd name="T6" fmla="*/ 286 w 421"/>
                  <a:gd name="T7" fmla="*/ 40 h 616"/>
                  <a:gd name="T8" fmla="*/ 236 w 421"/>
                  <a:gd name="T9" fmla="*/ 32 h 616"/>
                  <a:gd name="T10" fmla="*/ 244 w 421"/>
                  <a:gd name="T11" fmla="*/ 8 h 616"/>
                  <a:gd name="T12" fmla="*/ 177 w 421"/>
                  <a:gd name="T13" fmla="*/ 8 h 616"/>
                  <a:gd name="T14" fmla="*/ 160 w 421"/>
                  <a:gd name="T15" fmla="*/ 112 h 616"/>
                  <a:gd name="T16" fmla="*/ 126 w 421"/>
                  <a:gd name="T17" fmla="*/ 208 h 616"/>
                  <a:gd name="T18" fmla="*/ 42 w 421"/>
                  <a:gd name="T19" fmla="*/ 304 h 616"/>
                  <a:gd name="T20" fmla="*/ 8 w 421"/>
                  <a:gd name="T21" fmla="*/ 368 h 616"/>
                  <a:gd name="T22" fmla="*/ 34 w 421"/>
                  <a:gd name="T23" fmla="*/ 384 h 616"/>
                  <a:gd name="T24" fmla="*/ 25 w 421"/>
                  <a:gd name="T25" fmla="*/ 408 h 616"/>
                  <a:gd name="T26" fmla="*/ 67 w 421"/>
                  <a:gd name="T27" fmla="*/ 416 h 616"/>
                  <a:gd name="T28" fmla="*/ 42 w 421"/>
                  <a:gd name="T29" fmla="*/ 512 h 616"/>
                  <a:gd name="T30" fmla="*/ 8 w 421"/>
                  <a:gd name="T31" fmla="*/ 576 h 616"/>
                  <a:gd name="T32" fmla="*/ 8 w 421"/>
                  <a:gd name="T33" fmla="*/ 592 h 616"/>
                  <a:gd name="T34" fmla="*/ 84 w 421"/>
                  <a:gd name="T35" fmla="*/ 600 h 616"/>
                  <a:gd name="T36" fmla="*/ 160 w 421"/>
                  <a:gd name="T37" fmla="*/ 608 h 616"/>
                  <a:gd name="T38" fmla="*/ 168 w 421"/>
                  <a:gd name="T39" fmla="*/ 576 h 616"/>
                  <a:gd name="T40" fmla="*/ 219 w 421"/>
                  <a:gd name="T41" fmla="*/ 520 h 616"/>
                  <a:gd name="T42" fmla="*/ 236 w 421"/>
                  <a:gd name="T43" fmla="*/ 496 h 616"/>
                  <a:gd name="T44" fmla="*/ 219 w 421"/>
                  <a:gd name="T45" fmla="*/ 456 h 616"/>
                  <a:gd name="T46" fmla="*/ 236 w 421"/>
                  <a:gd name="T47" fmla="*/ 416 h 616"/>
                  <a:gd name="T48" fmla="*/ 269 w 421"/>
                  <a:gd name="T49" fmla="*/ 400 h 616"/>
                  <a:gd name="T50" fmla="*/ 253 w 421"/>
                  <a:gd name="T51" fmla="*/ 376 h 616"/>
                  <a:gd name="T52" fmla="*/ 261 w 421"/>
                  <a:gd name="T53" fmla="*/ 312 h 616"/>
                  <a:gd name="T54" fmla="*/ 303 w 421"/>
                  <a:gd name="T55" fmla="*/ 288 h 616"/>
                  <a:gd name="T56" fmla="*/ 312 w 421"/>
                  <a:gd name="T57" fmla="*/ 256 h 616"/>
                  <a:gd name="T58" fmla="*/ 320 w 421"/>
                  <a:gd name="T59" fmla="*/ 224 h 616"/>
                  <a:gd name="T60" fmla="*/ 328 w 421"/>
                  <a:gd name="T61" fmla="*/ 168 h 616"/>
                  <a:gd name="T62" fmla="*/ 387 w 421"/>
                  <a:gd name="T63" fmla="*/ 136 h 616"/>
                  <a:gd name="T64" fmla="*/ 421 w 421"/>
                  <a:gd name="T65" fmla="*/ 112 h 616"/>
                  <a:gd name="T66" fmla="*/ 413 w 421"/>
                  <a:gd name="T67" fmla="*/ 96 h 61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21" h="616">
                    <a:moveTo>
                      <a:pt x="413" y="96"/>
                    </a:moveTo>
                    <a:lnTo>
                      <a:pt x="396" y="88"/>
                    </a:lnTo>
                    <a:lnTo>
                      <a:pt x="396" y="80"/>
                    </a:lnTo>
                    <a:lnTo>
                      <a:pt x="387" y="64"/>
                    </a:lnTo>
                    <a:lnTo>
                      <a:pt x="354" y="48"/>
                    </a:lnTo>
                    <a:lnTo>
                      <a:pt x="328" y="56"/>
                    </a:lnTo>
                    <a:lnTo>
                      <a:pt x="303" y="56"/>
                    </a:lnTo>
                    <a:lnTo>
                      <a:pt x="286" y="40"/>
                    </a:lnTo>
                    <a:lnTo>
                      <a:pt x="253" y="40"/>
                    </a:lnTo>
                    <a:lnTo>
                      <a:pt x="236" y="32"/>
                    </a:lnTo>
                    <a:lnTo>
                      <a:pt x="244" y="24"/>
                    </a:lnTo>
                    <a:lnTo>
                      <a:pt x="244" y="8"/>
                    </a:lnTo>
                    <a:lnTo>
                      <a:pt x="227" y="0"/>
                    </a:lnTo>
                    <a:lnTo>
                      <a:pt x="177" y="8"/>
                    </a:lnTo>
                    <a:lnTo>
                      <a:pt x="177" y="40"/>
                    </a:lnTo>
                    <a:lnTo>
                      <a:pt x="160" y="112"/>
                    </a:lnTo>
                    <a:lnTo>
                      <a:pt x="143" y="144"/>
                    </a:lnTo>
                    <a:lnTo>
                      <a:pt x="126" y="208"/>
                    </a:lnTo>
                    <a:lnTo>
                      <a:pt x="92" y="256"/>
                    </a:lnTo>
                    <a:lnTo>
                      <a:pt x="42" y="304"/>
                    </a:lnTo>
                    <a:lnTo>
                      <a:pt x="17" y="352"/>
                    </a:lnTo>
                    <a:lnTo>
                      <a:pt x="8" y="368"/>
                    </a:lnTo>
                    <a:lnTo>
                      <a:pt x="17" y="376"/>
                    </a:lnTo>
                    <a:lnTo>
                      <a:pt x="34" y="384"/>
                    </a:lnTo>
                    <a:lnTo>
                      <a:pt x="25" y="400"/>
                    </a:lnTo>
                    <a:lnTo>
                      <a:pt x="25" y="408"/>
                    </a:lnTo>
                    <a:lnTo>
                      <a:pt x="34" y="416"/>
                    </a:lnTo>
                    <a:lnTo>
                      <a:pt x="67" y="416"/>
                    </a:lnTo>
                    <a:lnTo>
                      <a:pt x="42" y="480"/>
                    </a:lnTo>
                    <a:lnTo>
                      <a:pt x="42" y="512"/>
                    </a:lnTo>
                    <a:lnTo>
                      <a:pt x="25" y="544"/>
                    </a:lnTo>
                    <a:lnTo>
                      <a:pt x="8" y="576"/>
                    </a:lnTo>
                    <a:lnTo>
                      <a:pt x="0" y="592"/>
                    </a:lnTo>
                    <a:lnTo>
                      <a:pt x="8" y="592"/>
                    </a:lnTo>
                    <a:lnTo>
                      <a:pt x="50" y="592"/>
                    </a:lnTo>
                    <a:lnTo>
                      <a:pt x="84" y="600"/>
                    </a:lnTo>
                    <a:lnTo>
                      <a:pt x="126" y="616"/>
                    </a:lnTo>
                    <a:lnTo>
                      <a:pt x="160" y="608"/>
                    </a:lnTo>
                    <a:lnTo>
                      <a:pt x="168" y="576"/>
                    </a:lnTo>
                    <a:lnTo>
                      <a:pt x="177" y="544"/>
                    </a:lnTo>
                    <a:lnTo>
                      <a:pt x="219" y="520"/>
                    </a:lnTo>
                    <a:lnTo>
                      <a:pt x="244" y="496"/>
                    </a:lnTo>
                    <a:lnTo>
                      <a:pt x="236" y="496"/>
                    </a:lnTo>
                    <a:lnTo>
                      <a:pt x="227" y="480"/>
                    </a:lnTo>
                    <a:lnTo>
                      <a:pt x="219" y="456"/>
                    </a:lnTo>
                    <a:lnTo>
                      <a:pt x="227" y="432"/>
                    </a:lnTo>
                    <a:lnTo>
                      <a:pt x="236" y="416"/>
                    </a:lnTo>
                    <a:lnTo>
                      <a:pt x="261" y="408"/>
                    </a:lnTo>
                    <a:lnTo>
                      <a:pt x="269" y="400"/>
                    </a:lnTo>
                    <a:lnTo>
                      <a:pt x="269" y="392"/>
                    </a:lnTo>
                    <a:lnTo>
                      <a:pt x="253" y="376"/>
                    </a:lnTo>
                    <a:lnTo>
                      <a:pt x="236" y="312"/>
                    </a:lnTo>
                    <a:lnTo>
                      <a:pt x="261" y="312"/>
                    </a:lnTo>
                    <a:lnTo>
                      <a:pt x="286" y="304"/>
                    </a:lnTo>
                    <a:lnTo>
                      <a:pt x="303" y="288"/>
                    </a:lnTo>
                    <a:lnTo>
                      <a:pt x="303" y="256"/>
                    </a:lnTo>
                    <a:lnTo>
                      <a:pt x="312" y="256"/>
                    </a:lnTo>
                    <a:lnTo>
                      <a:pt x="320" y="248"/>
                    </a:lnTo>
                    <a:lnTo>
                      <a:pt x="320" y="224"/>
                    </a:lnTo>
                    <a:lnTo>
                      <a:pt x="337" y="192"/>
                    </a:lnTo>
                    <a:lnTo>
                      <a:pt x="328" y="168"/>
                    </a:lnTo>
                    <a:lnTo>
                      <a:pt x="362" y="152"/>
                    </a:lnTo>
                    <a:lnTo>
                      <a:pt x="387" y="136"/>
                    </a:lnTo>
                    <a:lnTo>
                      <a:pt x="421" y="120"/>
                    </a:lnTo>
                    <a:lnTo>
                      <a:pt x="421" y="112"/>
                    </a:lnTo>
                    <a:lnTo>
                      <a:pt x="413" y="96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042ECDC6-86B2-3257-1EFA-5B676797D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1836" y="3370832"/>
                <a:ext cx="552842" cy="569594"/>
              </a:xfrm>
              <a:custGeom>
                <a:avLst/>
                <a:gdLst>
                  <a:gd name="T0" fmla="*/ 363 w 396"/>
                  <a:gd name="T1" fmla="*/ 160 h 408"/>
                  <a:gd name="T2" fmla="*/ 354 w 396"/>
                  <a:gd name="T3" fmla="*/ 136 h 408"/>
                  <a:gd name="T4" fmla="*/ 329 w 396"/>
                  <a:gd name="T5" fmla="*/ 120 h 408"/>
                  <a:gd name="T6" fmla="*/ 295 w 396"/>
                  <a:gd name="T7" fmla="*/ 144 h 408"/>
                  <a:gd name="T8" fmla="*/ 262 w 396"/>
                  <a:gd name="T9" fmla="*/ 96 h 408"/>
                  <a:gd name="T10" fmla="*/ 278 w 396"/>
                  <a:gd name="T11" fmla="*/ 80 h 408"/>
                  <a:gd name="T12" fmla="*/ 278 w 396"/>
                  <a:gd name="T13" fmla="*/ 64 h 408"/>
                  <a:gd name="T14" fmla="*/ 312 w 396"/>
                  <a:gd name="T15" fmla="*/ 64 h 408"/>
                  <a:gd name="T16" fmla="*/ 321 w 396"/>
                  <a:gd name="T17" fmla="*/ 48 h 408"/>
                  <a:gd name="T18" fmla="*/ 329 w 396"/>
                  <a:gd name="T19" fmla="*/ 32 h 408"/>
                  <a:gd name="T20" fmla="*/ 346 w 396"/>
                  <a:gd name="T21" fmla="*/ 24 h 408"/>
                  <a:gd name="T22" fmla="*/ 354 w 396"/>
                  <a:gd name="T23" fmla="*/ 0 h 408"/>
                  <a:gd name="T24" fmla="*/ 329 w 396"/>
                  <a:gd name="T25" fmla="*/ 0 h 408"/>
                  <a:gd name="T26" fmla="*/ 304 w 396"/>
                  <a:gd name="T27" fmla="*/ 8 h 408"/>
                  <a:gd name="T28" fmla="*/ 262 w 396"/>
                  <a:gd name="T29" fmla="*/ 8 h 408"/>
                  <a:gd name="T30" fmla="*/ 253 w 396"/>
                  <a:gd name="T31" fmla="*/ 32 h 408"/>
                  <a:gd name="T32" fmla="*/ 219 w 396"/>
                  <a:gd name="T33" fmla="*/ 56 h 408"/>
                  <a:gd name="T34" fmla="*/ 219 w 396"/>
                  <a:gd name="T35" fmla="*/ 80 h 408"/>
                  <a:gd name="T36" fmla="*/ 186 w 396"/>
                  <a:gd name="T37" fmla="*/ 96 h 408"/>
                  <a:gd name="T38" fmla="*/ 127 w 396"/>
                  <a:gd name="T39" fmla="*/ 72 h 408"/>
                  <a:gd name="T40" fmla="*/ 93 w 396"/>
                  <a:gd name="T41" fmla="*/ 104 h 408"/>
                  <a:gd name="T42" fmla="*/ 110 w 396"/>
                  <a:gd name="T43" fmla="*/ 136 h 408"/>
                  <a:gd name="T44" fmla="*/ 76 w 396"/>
                  <a:gd name="T45" fmla="*/ 160 h 408"/>
                  <a:gd name="T46" fmla="*/ 110 w 396"/>
                  <a:gd name="T47" fmla="*/ 192 h 408"/>
                  <a:gd name="T48" fmla="*/ 152 w 396"/>
                  <a:gd name="T49" fmla="*/ 208 h 408"/>
                  <a:gd name="T50" fmla="*/ 144 w 396"/>
                  <a:gd name="T51" fmla="*/ 224 h 408"/>
                  <a:gd name="T52" fmla="*/ 118 w 396"/>
                  <a:gd name="T53" fmla="*/ 224 h 408"/>
                  <a:gd name="T54" fmla="*/ 102 w 396"/>
                  <a:gd name="T55" fmla="*/ 256 h 408"/>
                  <a:gd name="T56" fmla="*/ 51 w 396"/>
                  <a:gd name="T57" fmla="*/ 272 h 408"/>
                  <a:gd name="T58" fmla="*/ 51 w 396"/>
                  <a:gd name="T59" fmla="*/ 304 h 408"/>
                  <a:gd name="T60" fmla="*/ 9 w 396"/>
                  <a:gd name="T61" fmla="*/ 312 h 408"/>
                  <a:gd name="T62" fmla="*/ 26 w 396"/>
                  <a:gd name="T63" fmla="*/ 328 h 408"/>
                  <a:gd name="T64" fmla="*/ 0 w 396"/>
                  <a:gd name="T65" fmla="*/ 368 h 408"/>
                  <a:gd name="T66" fmla="*/ 26 w 396"/>
                  <a:gd name="T67" fmla="*/ 376 h 408"/>
                  <a:gd name="T68" fmla="*/ 26 w 396"/>
                  <a:gd name="T69" fmla="*/ 400 h 408"/>
                  <a:gd name="T70" fmla="*/ 59 w 396"/>
                  <a:gd name="T71" fmla="*/ 408 h 408"/>
                  <a:gd name="T72" fmla="*/ 160 w 396"/>
                  <a:gd name="T73" fmla="*/ 408 h 408"/>
                  <a:gd name="T74" fmla="*/ 228 w 396"/>
                  <a:gd name="T75" fmla="*/ 376 h 408"/>
                  <a:gd name="T76" fmla="*/ 287 w 396"/>
                  <a:gd name="T77" fmla="*/ 376 h 408"/>
                  <a:gd name="T78" fmla="*/ 329 w 396"/>
                  <a:gd name="T79" fmla="*/ 392 h 408"/>
                  <a:gd name="T80" fmla="*/ 329 w 396"/>
                  <a:gd name="T81" fmla="*/ 360 h 408"/>
                  <a:gd name="T82" fmla="*/ 354 w 396"/>
                  <a:gd name="T83" fmla="*/ 328 h 408"/>
                  <a:gd name="T84" fmla="*/ 371 w 396"/>
                  <a:gd name="T85" fmla="*/ 304 h 408"/>
                  <a:gd name="T86" fmla="*/ 388 w 396"/>
                  <a:gd name="T87" fmla="*/ 232 h 408"/>
                  <a:gd name="T88" fmla="*/ 380 w 396"/>
                  <a:gd name="T89" fmla="*/ 208 h 408"/>
                  <a:gd name="T90" fmla="*/ 371 w 396"/>
                  <a:gd name="T91" fmla="*/ 176 h 408"/>
                  <a:gd name="T92" fmla="*/ 396 w 396"/>
                  <a:gd name="T93" fmla="*/ 168 h 408"/>
                  <a:gd name="T94" fmla="*/ 380 w 396"/>
                  <a:gd name="T95" fmla="*/ 160 h 408"/>
                  <a:gd name="T96" fmla="*/ 363 w 396"/>
                  <a:gd name="T97" fmla="*/ 160 h 40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96" h="408">
                    <a:moveTo>
                      <a:pt x="363" y="160"/>
                    </a:moveTo>
                    <a:lnTo>
                      <a:pt x="354" y="136"/>
                    </a:lnTo>
                    <a:lnTo>
                      <a:pt x="329" y="120"/>
                    </a:lnTo>
                    <a:lnTo>
                      <a:pt x="295" y="144"/>
                    </a:lnTo>
                    <a:lnTo>
                      <a:pt x="262" y="96"/>
                    </a:lnTo>
                    <a:lnTo>
                      <a:pt x="278" y="80"/>
                    </a:lnTo>
                    <a:lnTo>
                      <a:pt x="278" y="64"/>
                    </a:lnTo>
                    <a:lnTo>
                      <a:pt x="312" y="64"/>
                    </a:lnTo>
                    <a:lnTo>
                      <a:pt x="321" y="48"/>
                    </a:lnTo>
                    <a:lnTo>
                      <a:pt x="329" y="32"/>
                    </a:lnTo>
                    <a:lnTo>
                      <a:pt x="346" y="24"/>
                    </a:lnTo>
                    <a:lnTo>
                      <a:pt x="354" y="0"/>
                    </a:lnTo>
                    <a:lnTo>
                      <a:pt x="329" y="0"/>
                    </a:lnTo>
                    <a:lnTo>
                      <a:pt x="304" y="8"/>
                    </a:lnTo>
                    <a:lnTo>
                      <a:pt x="262" y="8"/>
                    </a:lnTo>
                    <a:lnTo>
                      <a:pt x="253" y="32"/>
                    </a:lnTo>
                    <a:lnTo>
                      <a:pt x="219" y="56"/>
                    </a:lnTo>
                    <a:lnTo>
                      <a:pt x="219" y="80"/>
                    </a:lnTo>
                    <a:lnTo>
                      <a:pt x="186" y="96"/>
                    </a:lnTo>
                    <a:lnTo>
                      <a:pt x="127" y="72"/>
                    </a:lnTo>
                    <a:lnTo>
                      <a:pt x="93" y="104"/>
                    </a:lnTo>
                    <a:lnTo>
                      <a:pt x="110" y="136"/>
                    </a:lnTo>
                    <a:lnTo>
                      <a:pt x="76" y="160"/>
                    </a:lnTo>
                    <a:lnTo>
                      <a:pt x="110" y="192"/>
                    </a:lnTo>
                    <a:lnTo>
                      <a:pt x="152" y="208"/>
                    </a:lnTo>
                    <a:lnTo>
                      <a:pt x="144" y="224"/>
                    </a:lnTo>
                    <a:lnTo>
                      <a:pt x="118" y="224"/>
                    </a:lnTo>
                    <a:lnTo>
                      <a:pt x="102" y="256"/>
                    </a:lnTo>
                    <a:lnTo>
                      <a:pt x="51" y="272"/>
                    </a:lnTo>
                    <a:lnTo>
                      <a:pt x="51" y="304"/>
                    </a:lnTo>
                    <a:lnTo>
                      <a:pt x="9" y="312"/>
                    </a:lnTo>
                    <a:lnTo>
                      <a:pt x="26" y="328"/>
                    </a:lnTo>
                    <a:lnTo>
                      <a:pt x="0" y="368"/>
                    </a:lnTo>
                    <a:lnTo>
                      <a:pt x="26" y="376"/>
                    </a:lnTo>
                    <a:lnTo>
                      <a:pt x="26" y="400"/>
                    </a:lnTo>
                    <a:lnTo>
                      <a:pt x="59" y="408"/>
                    </a:lnTo>
                    <a:lnTo>
                      <a:pt x="160" y="408"/>
                    </a:lnTo>
                    <a:lnTo>
                      <a:pt x="228" y="376"/>
                    </a:lnTo>
                    <a:lnTo>
                      <a:pt x="287" y="376"/>
                    </a:lnTo>
                    <a:lnTo>
                      <a:pt x="329" y="392"/>
                    </a:lnTo>
                    <a:lnTo>
                      <a:pt x="329" y="360"/>
                    </a:lnTo>
                    <a:lnTo>
                      <a:pt x="354" y="328"/>
                    </a:lnTo>
                    <a:lnTo>
                      <a:pt x="371" y="304"/>
                    </a:lnTo>
                    <a:lnTo>
                      <a:pt x="388" y="232"/>
                    </a:lnTo>
                    <a:lnTo>
                      <a:pt x="380" y="208"/>
                    </a:lnTo>
                    <a:lnTo>
                      <a:pt x="371" y="176"/>
                    </a:lnTo>
                    <a:lnTo>
                      <a:pt x="396" y="168"/>
                    </a:lnTo>
                    <a:lnTo>
                      <a:pt x="380" y="160"/>
                    </a:lnTo>
                    <a:lnTo>
                      <a:pt x="363" y="16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A1BD6CD8-ED83-CB8C-7ED3-4DEC0D3BA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7605" y="3404338"/>
                <a:ext cx="282006" cy="201034"/>
              </a:xfrm>
              <a:custGeom>
                <a:avLst/>
                <a:gdLst>
                  <a:gd name="T0" fmla="*/ 185 w 202"/>
                  <a:gd name="T1" fmla="*/ 72 h 144"/>
                  <a:gd name="T2" fmla="*/ 177 w 202"/>
                  <a:gd name="T3" fmla="*/ 48 h 144"/>
                  <a:gd name="T4" fmla="*/ 177 w 202"/>
                  <a:gd name="T5" fmla="*/ 16 h 144"/>
                  <a:gd name="T6" fmla="*/ 151 w 202"/>
                  <a:gd name="T7" fmla="*/ 0 h 144"/>
                  <a:gd name="T8" fmla="*/ 126 w 202"/>
                  <a:gd name="T9" fmla="*/ 0 h 144"/>
                  <a:gd name="T10" fmla="*/ 109 w 202"/>
                  <a:gd name="T11" fmla="*/ 0 h 144"/>
                  <a:gd name="T12" fmla="*/ 84 w 202"/>
                  <a:gd name="T13" fmla="*/ 0 h 144"/>
                  <a:gd name="T14" fmla="*/ 84 w 202"/>
                  <a:gd name="T15" fmla="*/ 8 h 144"/>
                  <a:gd name="T16" fmla="*/ 84 w 202"/>
                  <a:gd name="T17" fmla="*/ 0 h 144"/>
                  <a:gd name="T18" fmla="*/ 67 w 202"/>
                  <a:gd name="T19" fmla="*/ 8 h 144"/>
                  <a:gd name="T20" fmla="*/ 59 w 202"/>
                  <a:gd name="T21" fmla="*/ 24 h 144"/>
                  <a:gd name="T22" fmla="*/ 50 w 202"/>
                  <a:gd name="T23" fmla="*/ 40 h 144"/>
                  <a:gd name="T24" fmla="*/ 16 w 202"/>
                  <a:gd name="T25" fmla="*/ 40 h 144"/>
                  <a:gd name="T26" fmla="*/ 16 w 202"/>
                  <a:gd name="T27" fmla="*/ 56 h 144"/>
                  <a:gd name="T28" fmla="*/ 0 w 202"/>
                  <a:gd name="T29" fmla="*/ 72 h 144"/>
                  <a:gd name="T30" fmla="*/ 33 w 202"/>
                  <a:gd name="T31" fmla="*/ 120 h 144"/>
                  <a:gd name="T32" fmla="*/ 67 w 202"/>
                  <a:gd name="T33" fmla="*/ 96 h 144"/>
                  <a:gd name="T34" fmla="*/ 92 w 202"/>
                  <a:gd name="T35" fmla="*/ 112 h 144"/>
                  <a:gd name="T36" fmla="*/ 101 w 202"/>
                  <a:gd name="T37" fmla="*/ 136 h 144"/>
                  <a:gd name="T38" fmla="*/ 118 w 202"/>
                  <a:gd name="T39" fmla="*/ 136 h 144"/>
                  <a:gd name="T40" fmla="*/ 134 w 202"/>
                  <a:gd name="T41" fmla="*/ 144 h 144"/>
                  <a:gd name="T42" fmla="*/ 143 w 202"/>
                  <a:gd name="T43" fmla="*/ 144 h 144"/>
                  <a:gd name="T44" fmla="*/ 168 w 202"/>
                  <a:gd name="T45" fmla="*/ 128 h 144"/>
                  <a:gd name="T46" fmla="*/ 193 w 202"/>
                  <a:gd name="T47" fmla="*/ 120 h 144"/>
                  <a:gd name="T48" fmla="*/ 202 w 202"/>
                  <a:gd name="T49" fmla="*/ 88 h 144"/>
                  <a:gd name="T50" fmla="*/ 185 w 202"/>
                  <a:gd name="T51" fmla="*/ 72 h 14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02" h="144">
                    <a:moveTo>
                      <a:pt x="185" y="72"/>
                    </a:moveTo>
                    <a:lnTo>
                      <a:pt x="177" y="48"/>
                    </a:lnTo>
                    <a:lnTo>
                      <a:pt x="177" y="16"/>
                    </a:lnTo>
                    <a:lnTo>
                      <a:pt x="151" y="0"/>
                    </a:lnTo>
                    <a:lnTo>
                      <a:pt x="126" y="0"/>
                    </a:lnTo>
                    <a:lnTo>
                      <a:pt x="109" y="0"/>
                    </a:lnTo>
                    <a:lnTo>
                      <a:pt x="84" y="0"/>
                    </a:lnTo>
                    <a:lnTo>
                      <a:pt x="84" y="8"/>
                    </a:lnTo>
                    <a:lnTo>
                      <a:pt x="84" y="0"/>
                    </a:lnTo>
                    <a:lnTo>
                      <a:pt x="67" y="8"/>
                    </a:lnTo>
                    <a:lnTo>
                      <a:pt x="59" y="24"/>
                    </a:lnTo>
                    <a:lnTo>
                      <a:pt x="50" y="40"/>
                    </a:lnTo>
                    <a:lnTo>
                      <a:pt x="16" y="40"/>
                    </a:lnTo>
                    <a:lnTo>
                      <a:pt x="16" y="56"/>
                    </a:lnTo>
                    <a:lnTo>
                      <a:pt x="0" y="72"/>
                    </a:lnTo>
                    <a:lnTo>
                      <a:pt x="33" y="120"/>
                    </a:lnTo>
                    <a:lnTo>
                      <a:pt x="67" y="96"/>
                    </a:lnTo>
                    <a:lnTo>
                      <a:pt x="92" y="112"/>
                    </a:lnTo>
                    <a:lnTo>
                      <a:pt x="101" y="136"/>
                    </a:lnTo>
                    <a:lnTo>
                      <a:pt x="118" y="136"/>
                    </a:lnTo>
                    <a:lnTo>
                      <a:pt x="134" y="144"/>
                    </a:lnTo>
                    <a:lnTo>
                      <a:pt x="143" y="144"/>
                    </a:lnTo>
                    <a:lnTo>
                      <a:pt x="168" y="128"/>
                    </a:lnTo>
                    <a:lnTo>
                      <a:pt x="193" y="120"/>
                    </a:lnTo>
                    <a:lnTo>
                      <a:pt x="202" y="88"/>
                    </a:lnTo>
                    <a:lnTo>
                      <a:pt x="185" y="7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56B87167-E157-69D9-378E-F557C454E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408" y="2879418"/>
                <a:ext cx="929779" cy="1418401"/>
              </a:xfrm>
              <a:custGeom>
                <a:avLst/>
                <a:gdLst>
                  <a:gd name="T0" fmla="*/ 337 w 666"/>
                  <a:gd name="T1" fmla="*/ 96 h 1016"/>
                  <a:gd name="T2" fmla="*/ 421 w 666"/>
                  <a:gd name="T3" fmla="*/ 24 h 1016"/>
                  <a:gd name="T4" fmla="*/ 270 w 666"/>
                  <a:gd name="T5" fmla="*/ 24 h 1016"/>
                  <a:gd name="T6" fmla="*/ 253 w 666"/>
                  <a:gd name="T7" fmla="*/ 80 h 1016"/>
                  <a:gd name="T8" fmla="*/ 202 w 666"/>
                  <a:gd name="T9" fmla="*/ 136 h 1016"/>
                  <a:gd name="T10" fmla="*/ 169 w 666"/>
                  <a:gd name="T11" fmla="*/ 200 h 1016"/>
                  <a:gd name="T12" fmla="*/ 202 w 666"/>
                  <a:gd name="T13" fmla="*/ 232 h 1016"/>
                  <a:gd name="T14" fmla="*/ 169 w 666"/>
                  <a:gd name="T15" fmla="*/ 320 h 1016"/>
                  <a:gd name="T16" fmla="*/ 186 w 666"/>
                  <a:gd name="T17" fmla="*/ 344 h 1016"/>
                  <a:gd name="T18" fmla="*/ 228 w 666"/>
                  <a:gd name="T19" fmla="*/ 320 h 1016"/>
                  <a:gd name="T20" fmla="*/ 186 w 666"/>
                  <a:gd name="T21" fmla="*/ 424 h 1016"/>
                  <a:gd name="T22" fmla="*/ 236 w 666"/>
                  <a:gd name="T23" fmla="*/ 464 h 1016"/>
                  <a:gd name="T24" fmla="*/ 303 w 666"/>
                  <a:gd name="T25" fmla="*/ 448 h 1016"/>
                  <a:gd name="T26" fmla="*/ 287 w 666"/>
                  <a:gd name="T27" fmla="*/ 496 h 1016"/>
                  <a:gd name="T28" fmla="*/ 329 w 666"/>
                  <a:gd name="T29" fmla="*/ 576 h 1016"/>
                  <a:gd name="T30" fmla="*/ 295 w 666"/>
                  <a:gd name="T31" fmla="*/ 648 h 1016"/>
                  <a:gd name="T32" fmla="*/ 202 w 666"/>
                  <a:gd name="T33" fmla="*/ 624 h 1016"/>
                  <a:gd name="T34" fmla="*/ 160 w 666"/>
                  <a:gd name="T35" fmla="*/ 680 h 1016"/>
                  <a:gd name="T36" fmla="*/ 211 w 666"/>
                  <a:gd name="T37" fmla="*/ 744 h 1016"/>
                  <a:gd name="T38" fmla="*/ 101 w 666"/>
                  <a:gd name="T39" fmla="*/ 776 h 1016"/>
                  <a:gd name="T40" fmla="*/ 101 w 666"/>
                  <a:gd name="T41" fmla="*/ 808 h 1016"/>
                  <a:gd name="T42" fmla="*/ 169 w 666"/>
                  <a:gd name="T43" fmla="*/ 824 h 1016"/>
                  <a:gd name="T44" fmla="*/ 219 w 666"/>
                  <a:gd name="T45" fmla="*/ 864 h 1016"/>
                  <a:gd name="T46" fmla="*/ 295 w 666"/>
                  <a:gd name="T47" fmla="*/ 848 h 1016"/>
                  <a:gd name="T48" fmla="*/ 228 w 666"/>
                  <a:gd name="T49" fmla="*/ 896 h 1016"/>
                  <a:gd name="T50" fmla="*/ 127 w 666"/>
                  <a:gd name="T51" fmla="*/ 904 h 1016"/>
                  <a:gd name="T52" fmla="*/ 0 w 666"/>
                  <a:gd name="T53" fmla="*/ 984 h 1016"/>
                  <a:gd name="T54" fmla="*/ 51 w 666"/>
                  <a:gd name="T55" fmla="*/ 1016 h 1016"/>
                  <a:gd name="T56" fmla="*/ 93 w 666"/>
                  <a:gd name="T57" fmla="*/ 976 h 1016"/>
                  <a:gd name="T58" fmla="*/ 219 w 666"/>
                  <a:gd name="T59" fmla="*/ 960 h 1016"/>
                  <a:gd name="T60" fmla="*/ 337 w 666"/>
                  <a:gd name="T61" fmla="*/ 984 h 1016"/>
                  <a:gd name="T62" fmla="*/ 421 w 666"/>
                  <a:gd name="T63" fmla="*/ 968 h 1016"/>
                  <a:gd name="T64" fmla="*/ 573 w 666"/>
                  <a:gd name="T65" fmla="*/ 968 h 1016"/>
                  <a:gd name="T66" fmla="*/ 624 w 666"/>
                  <a:gd name="T67" fmla="*/ 928 h 1016"/>
                  <a:gd name="T68" fmla="*/ 590 w 666"/>
                  <a:gd name="T69" fmla="*/ 872 h 1016"/>
                  <a:gd name="T70" fmla="*/ 649 w 666"/>
                  <a:gd name="T71" fmla="*/ 840 h 1016"/>
                  <a:gd name="T72" fmla="*/ 666 w 666"/>
                  <a:gd name="T73" fmla="*/ 760 h 1016"/>
                  <a:gd name="T74" fmla="*/ 539 w 666"/>
                  <a:gd name="T75" fmla="*/ 728 h 1016"/>
                  <a:gd name="T76" fmla="*/ 523 w 666"/>
                  <a:gd name="T77" fmla="*/ 632 h 1016"/>
                  <a:gd name="T78" fmla="*/ 539 w 666"/>
                  <a:gd name="T79" fmla="*/ 576 h 1016"/>
                  <a:gd name="T80" fmla="*/ 480 w 666"/>
                  <a:gd name="T81" fmla="*/ 512 h 1016"/>
                  <a:gd name="T82" fmla="*/ 455 w 666"/>
                  <a:gd name="T83" fmla="*/ 392 h 1016"/>
                  <a:gd name="T84" fmla="*/ 413 w 666"/>
                  <a:gd name="T85" fmla="*/ 344 h 1016"/>
                  <a:gd name="T86" fmla="*/ 337 w 666"/>
                  <a:gd name="T87" fmla="*/ 320 h 1016"/>
                  <a:gd name="T88" fmla="*/ 388 w 666"/>
                  <a:gd name="T89" fmla="*/ 280 h 1016"/>
                  <a:gd name="T90" fmla="*/ 447 w 666"/>
                  <a:gd name="T91" fmla="*/ 224 h 1016"/>
                  <a:gd name="T92" fmla="*/ 489 w 666"/>
                  <a:gd name="T93" fmla="*/ 144 h 1016"/>
                  <a:gd name="T94" fmla="*/ 379 w 666"/>
                  <a:gd name="T95" fmla="*/ 120 h 10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66" h="1016">
                    <a:moveTo>
                      <a:pt x="329" y="128"/>
                    </a:moveTo>
                    <a:lnTo>
                      <a:pt x="354" y="104"/>
                    </a:lnTo>
                    <a:lnTo>
                      <a:pt x="337" y="96"/>
                    </a:lnTo>
                    <a:lnTo>
                      <a:pt x="388" y="64"/>
                    </a:lnTo>
                    <a:lnTo>
                      <a:pt x="413" y="56"/>
                    </a:lnTo>
                    <a:lnTo>
                      <a:pt x="421" y="24"/>
                    </a:lnTo>
                    <a:lnTo>
                      <a:pt x="320" y="16"/>
                    </a:lnTo>
                    <a:lnTo>
                      <a:pt x="287" y="0"/>
                    </a:lnTo>
                    <a:lnTo>
                      <a:pt x="270" y="24"/>
                    </a:lnTo>
                    <a:lnTo>
                      <a:pt x="253" y="40"/>
                    </a:lnTo>
                    <a:lnTo>
                      <a:pt x="245" y="56"/>
                    </a:lnTo>
                    <a:lnTo>
                      <a:pt x="253" y="80"/>
                    </a:lnTo>
                    <a:lnTo>
                      <a:pt x="219" y="88"/>
                    </a:lnTo>
                    <a:lnTo>
                      <a:pt x="202" y="104"/>
                    </a:lnTo>
                    <a:lnTo>
                      <a:pt x="202" y="136"/>
                    </a:lnTo>
                    <a:lnTo>
                      <a:pt x="202" y="160"/>
                    </a:lnTo>
                    <a:lnTo>
                      <a:pt x="186" y="184"/>
                    </a:lnTo>
                    <a:lnTo>
                      <a:pt x="169" y="200"/>
                    </a:lnTo>
                    <a:lnTo>
                      <a:pt x="135" y="248"/>
                    </a:lnTo>
                    <a:lnTo>
                      <a:pt x="160" y="256"/>
                    </a:lnTo>
                    <a:lnTo>
                      <a:pt x="202" y="232"/>
                    </a:lnTo>
                    <a:lnTo>
                      <a:pt x="186" y="264"/>
                    </a:lnTo>
                    <a:lnTo>
                      <a:pt x="177" y="296"/>
                    </a:lnTo>
                    <a:lnTo>
                      <a:pt x="169" y="320"/>
                    </a:lnTo>
                    <a:lnTo>
                      <a:pt x="143" y="376"/>
                    </a:lnTo>
                    <a:lnTo>
                      <a:pt x="169" y="376"/>
                    </a:lnTo>
                    <a:lnTo>
                      <a:pt x="186" y="344"/>
                    </a:lnTo>
                    <a:lnTo>
                      <a:pt x="202" y="304"/>
                    </a:lnTo>
                    <a:lnTo>
                      <a:pt x="211" y="328"/>
                    </a:lnTo>
                    <a:lnTo>
                      <a:pt x="228" y="320"/>
                    </a:lnTo>
                    <a:lnTo>
                      <a:pt x="219" y="344"/>
                    </a:lnTo>
                    <a:lnTo>
                      <a:pt x="228" y="360"/>
                    </a:lnTo>
                    <a:lnTo>
                      <a:pt x="186" y="424"/>
                    </a:lnTo>
                    <a:lnTo>
                      <a:pt x="194" y="472"/>
                    </a:lnTo>
                    <a:lnTo>
                      <a:pt x="202" y="440"/>
                    </a:lnTo>
                    <a:lnTo>
                      <a:pt x="236" y="464"/>
                    </a:lnTo>
                    <a:lnTo>
                      <a:pt x="253" y="456"/>
                    </a:lnTo>
                    <a:lnTo>
                      <a:pt x="278" y="464"/>
                    </a:lnTo>
                    <a:lnTo>
                      <a:pt x="303" y="448"/>
                    </a:lnTo>
                    <a:lnTo>
                      <a:pt x="329" y="456"/>
                    </a:lnTo>
                    <a:lnTo>
                      <a:pt x="295" y="480"/>
                    </a:lnTo>
                    <a:lnTo>
                      <a:pt x="287" y="496"/>
                    </a:lnTo>
                    <a:lnTo>
                      <a:pt x="312" y="544"/>
                    </a:lnTo>
                    <a:lnTo>
                      <a:pt x="329" y="544"/>
                    </a:lnTo>
                    <a:lnTo>
                      <a:pt x="329" y="576"/>
                    </a:lnTo>
                    <a:lnTo>
                      <a:pt x="320" y="576"/>
                    </a:lnTo>
                    <a:lnTo>
                      <a:pt x="312" y="632"/>
                    </a:lnTo>
                    <a:lnTo>
                      <a:pt x="295" y="648"/>
                    </a:lnTo>
                    <a:lnTo>
                      <a:pt x="287" y="640"/>
                    </a:lnTo>
                    <a:lnTo>
                      <a:pt x="236" y="640"/>
                    </a:lnTo>
                    <a:lnTo>
                      <a:pt x="202" y="624"/>
                    </a:lnTo>
                    <a:lnTo>
                      <a:pt x="186" y="632"/>
                    </a:lnTo>
                    <a:lnTo>
                      <a:pt x="202" y="648"/>
                    </a:lnTo>
                    <a:lnTo>
                      <a:pt x="160" y="680"/>
                    </a:lnTo>
                    <a:lnTo>
                      <a:pt x="177" y="688"/>
                    </a:lnTo>
                    <a:lnTo>
                      <a:pt x="202" y="680"/>
                    </a:lnTo>
                    <a:lnTo>
                      <a:pt x="211" y="744"/>
                    </a:lnTo>
                    <a:lnTo>
                      <a:pt x="169" y="760"/>
                    </a:lnTo>
                    <a:lnTo>
                      <a:pt x="143" y="768"/>
                    </a:lnTo>
                    <a:lnTo>
                      <a:pt x="101" y="776"/>
                    </a:lnTo>
                    <a:lnTo>
                      <a:pt x="84" y="784"/>
                    </a:lnTo>
                    <a:lnTo>
                      <a:pt x="93" y="792"/>
                    </a:lnTo>
                    <a:lnTo>
                      <a:pt x="101" y="808"/>
                    </a:lnTo>
                    <a:lnTo>
                      <a:pt x="135" y="824"/>
                    </a:lnTo>
                    <a:lnTo>
                      <a:pt x="152" y="808"/>
                    </a:lnTo>
                    <a:lnTo>
                      <a:pt x="169" y="824"/>
                    </a:lnTo>
                    <a:lnTo>
                      <a:pt x="160" y="840"/>
                    </a:lnTo>
                    <a:lnTo>
                      <a:pt x="194" y="840"/>
                    </a:lnTo>
                    <a:lnTo>
                      <a:pt x="219" y="864"/>
                    </a:lnTo>
                    <a:lnTo>
                      <a:pt x="261" y="864"/>
                    </a:lnTo>
                    <a:lnTo>
                      <a:pt x="278" y="856"/>
                    </a:lnTo>
                    <a:lnTo>
                      <a:pt x="295" y="848"/>
                    </a:lnTo>
                    <a:lnTo>
                      <a:pt x="270" y="872"/>
                    </a:lnTo>
                    <a:lnTo>
                      <a:pt x="261" y="888"/>
                    </a:lnTo>
                    <a:lnTo>
                      <a:pt x="228" y="896"/>
                    </a:lnTo>
                    <a:lnTo>
                      <a:pt x="160" y="888"/>
                    </a:lnTo>
                    <a:lnTo>
                      <a:pt x="152" y="896"/>
                    </a:lnTo>
                    <a:lnTo>
                      <a:pt x="127" y="904"/>
                    </a:lnTo>
                    <a:lnTo>
                      <a:pt x="110" y="928"/>
                    </a:lnTo>
                    <a:lnTo>
                      <a:pt x="42" y="976"/>
                    </a:lnTo>
                    <a:lnTo>
                      <a:pt x="0" y="984"/>
                    </a:lnTo>
                    <a:lnTo>
                      <a:pt x="9" y="992"/>
                    </a:lnTo>
                    <a:lnTo>
                      <a:pt x="34" y="992"/>
                    </a:lnTo>
                    <a:lnTo>
                      <a:pt x="51" y="1016"/>
                    </a:lnTo>
                    <a:lnTo>
                      <a:pt x="68" y="1008"/>
                    </a:lnTo>
                    <a:lnTo>
                      <a:pt x="68" y="992"/>
                    </a:lnTo>
                    <a:lnTo>
                      <a:pt x="93" y="976"/>
                    </a:lnTo>
                    <a:lnTo>
                      <a:pt x="143" y="976"/>
                    </a:lnTo>
                    <a:lnTo>
                      <a:pt x="169" y="1008"/>
                    </a:lnTo>
                    <a:lnTo>
                      <a:pt x="219" y="960"/>
                    </a:lnTo>
                    <a:lnTo>
                      <a:pt x="261" y="952"/>
                    </a:lnTo>
                    <a:lnTo>
                      <a:pt x="295" y="976"/>
                    </a:lnTo>
                    <a:lnTo>
                      <a:pt x="337" y="984"/>
                    </a:lnTo>
                    <a:lnTo>
                      <a:pt x="346" y="968"/>
                    </a:lnTo>
                    <a:lnTo>
                      <a:pt x="388" y="968"/>
                    </a:lnTo>
                    <a:lnTo>
                      <a:pt x="421" y="968"/>
                    </a:lnTo>
                    <a:lnTo>
                      <a:pt x="472" y="968"/>
                    </a:lnTo>
                    <a:lnTo>
                      <a:pt x="506" y="984"/>
                    </a:lnTo>
                    <a:lnTo>
                      <a:pt x="573" y="968"/>
                    </a:lnTo>
                    <a:lnTo>
                      <a:pt x="590" y="952"/>
                    </a:lnTo>
                    <a:lnTo>
                      <a:pt x="624" y="952"/>
                    </a:lnTo>
                    <a:lnTo>
                      <a:pt x="624" y="928"/>
                    </a:lnTo>
                    <a:lnTo>
                      <a:pt x="565" y="912"/>
                    </a:lnTo>
                    <a:lnTo>
                      <a:pt x="590" y="896"/>
                    </a:lnTo>
                    <a:lnTo>
                      <a:pt x="590" y="872"/>
                    </a:lnTo>
                    <a:lnTo>
                      <a:pt x="624" y="872"/>
                    </a:lnTo>
                    <a:lnTo>
                      <a:pt x="624" y="856"/>
                    </a:lnTo>
                    <a:lnTo>
                      <a:pt x="649" y="840"/>
                    </a:lnTo>
                    <a:lnTo>
                      <a:pt x="657" y="816"/>
                    </a:lnTo>
                    <a:lnTo>
                      <a:pt x="666" y="800"/>
                    </a:lnTo>
                    <a:lnTo>
                      <a:pt x="666" y="760"/>
                    </a:lnTo>
                    <a:lnTo>
                      <a:pt x="582" y="728"/>
                    </a:lnTo>
                    <a:lnTo>
                      <a:pt x="565" y="744"/>
                    </a:lnTo>
                    <a:lnTo>
                      <a:pt x="539" y="728"/>
                    </a:lnTo>
                    <a:lnTo>
                      <a:pt x="573" y="704"/>
                    </a:lnTo>
                    <a:lnTo>
                      <a:pt x="556" y="656"/>
                    </a:lnTo>
                    <a:lnTo>
                      <a:pt x="523" y="632"/>
                    </a:lnTo>
                    <a:lnTo>
                      <a:pt x="548" y="632"/>
                    </a:lnTo>
                    <a:lnTo>
                      <a:pt x="539" y="592"/>
                    </a:lnTo>
                    <a:lnTo>
                      <a:pt x="539" y="576"/>
                    </a:lnTo>
                    <a:lnTo>
                      <a:pt x="531" y="560"/>
                    </a:lnTo>
                    <a:lnTo>
                      <a:pt x="523" y="536"/>
                    </a:lnTo>
                    <a:lnTo>
                      <a:pt x="480" y="512"/>
                    </a:lnTo>
                    <a:lnTo>
                      <a:pt x="472" y="480"/>
                    </a:lnTo>
                    <a:lnTo>
                      <a:pt x="455" y="440"/>
                    </a:lnTo>
                    <a:lnTo>
                      <a:pt x="455" y="392"/>
                    </a:lnTo>
                    <a:lnTo>
                      <a:pt x="447" y="376"/>
                    </a:lnTo>
                    <a:lnTo>
                      <a:pt x="421" y="352"/>
                    </a:lnTo>
                    <a:lnTo>
                      <a:pt x="413" y="344"/>
                    </a:lnTo>
                    <a:lnTo>
                      <a:pt x="396" y="328"/>
                    </a:lnTo>
                    <a:lnTo>
                      <a:pt x="362" y="328"/>
                    </a:lnTo>
                    <a:lnTo>
                      <a:pt x="337" y="320"/>
                    </a:lnTo>
                    <a:lnTo>
                      <a:pt x="371" y="312"/>
                    </a:lnTo>
                    <a:lnTo>
                      <a:pt x="396" y="304"/>
                    </a:lnTo>
                    <a:lnTo>
                      <a:pt x="388" y="280"/>
                    </a:lnTo>
                    <a:lnTo>
                      <a:pt x="421" y="264"/>
                    </a:lnTo>
                    <a:lnTo>
                      <a:pt x="421" y="248"/>
                    </a:lnTo>
                    <a:lnTo>
                      <a:pt x="447" y="224"/>
                    </a:lnTo>
                    <a:lnTo>
                      <a:pt x="455" y="192"/>
                    </a:lnTo>
                    <a:lnTo>
                      <a:pt x="489" y="168"/>
                    </a:lnTo>
                    <a:lnTo>
                      <a:pt x="489" y="144"/>
                    </a:lnTo>
                    <a:lnTo>
                      <a:pt x="447" y="144"/>
                    </a:lnTo>
                    <a:lnTo>
                      <a:pt x="430" y="128"/>
                    </a:lnTo>
                    <a:lnTo>
                      <a:pt x="379" y="120"/>
                    </a:lnTo>
                    <a:lnTo>
                      <a:pt x="329" y="12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91B38E93-D091-DB9E-08C2-4C55185438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7605" y="3404338"/>
                <a:ext cx="282006" cy="201034"/>
              </a:xfrm>
              <a:custGeom>
                <a:avLst/>
                <a:gdLst>
                  <a:gd name="T0" fmla="*/ 185 w 202"/>
                  <a:gd name="T1" fmla="*/ 72 h 144"/>
                  <a:gd name="T2" fmla="*/ 177 w 202"/>
                  <a:gd name="T3" fmla="*/ 48 h 144"/>
                  <a:gd name="T4" fmla="*/ 177 w 202"/>
                  <a:gd name="T5" fmla="*/ 16 h 144"/>
                  <a:gd name="T6" fmla="*/ 151 w 202"/>
                  <a:gd name="T7" fmla="*/ 0 h 144"/>
                  <a:gd name="T8" fmla="*/ 126 w 202"/>
                  <a:gd name="T9" fmla="*/ 0 h 144"/>
                  <a:gd name="T10" fmla="*/ 109 w 202"/>
                  <a:gd name="T11" fmla="*/ 0 h 144"/>
                  <a:gd name="T12" fmla="*/ 84 w 202"/>
                  <a:gd name="T13" fmla="*/ 0 h 144"/>
                  <a:gd name="T14" fmla="*/ 84 w 202"/>
                  <a:gd name="T15" fmla="*/ 8 h 144"/>
                  <a:gd name="T16" fmla="*/ 84 w 202"/>
                  <a:gd name="T17" fmla="*/ 0 h 144"/>
                  <a:gd name="T18" fmla="*/ 67 w 202"/>
                  <a:gd name="T19" fmla="*/ 8 h 144"/>
                  <a:gd name="T20" fmla="*/ 59 w 202"/>
                  <a:gd name="T21" fmla="*/ 24 h 144"/>
                  <a:gd name="T22" fmla="*/ 50 w 202"/>
                  <a:gd name="T23" fmla="*/ 40 h 144"/>
                  <a:gd name="T24" fmla="*/ 16 w 202"/>
                  <a:gd name="T25" fmla="*/ 40 h 144"/>
                  <a:gd name="T26" fmla="*/ 16 w 202"/>
                  <a:gd name="T27" fmla="*/ 56 h 144"/>
                  <a:gd name="T28" fmla="*/ 0 w 202"/>
                  <a:gd name="T29" fmla="*/ 72 h 144"/>
                  <a:gd name="T30" fmla="*/ 33 w 202"/>
                  <a:gd name="T31" fmla="*/ 120 h 144"/>
                  <a:gd name="T32" fmla="*/ 67 w 202"/>
                  <a:gd name="T33" fmla="*/ 96 h 144"/>
                  <a:gd name="T34" fmla="*/ 92 w 202"/>
                  <a:gd name="T35" fmla="*/ 112 h 144"/>
                  <a:gd name="T36" fmla="*/ 101 w 202"/>
                  <a:gd name="T37" fmla="*/ 136 h 144"/>
                  <a:gd name="T38" fmla="*/ 118 w 202"/>
                  <a:gd name="T39" fmla="*/ 136 h 144"/>
                  <a:gd name="T40" fmla="*/ 134 w 202"/>
                  <a:gd name="T41" fmla="*/ 144 h 144"/>
                  <a:gd name="T42" fmla="*/ 143 w 202"/>
                  <a:gd name="T43" fmla="*/ 144 h 144"/>
                  <a:gd name="T44" fmla="*/ 143 w 202"/>
                  <a:gd name="T45" fmla="*/ 144 h 144"/>
                  <a:gd name="T46" fmla="*/ 168 w 202"/>
                  <a:gd name="T47" fmla="*/ 128 h 144"/>
                  <a:gd name="T48" fmla="*/ 193 w 202"/>
                  <a:gd name="T49" fmla="*/ 120 h 144"/>
                  <a:gd name="T50" fmla="*/ 202 w 202"/>
                  <a:gd name="T51" fmla="*/ 88 h 144"/>
                  <a:gd name="T52" fmla="*/ 185 w 202"/>
                  <a:gd name="T53" fmla="*/ 72 h 14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02" h="144">
                    <a:moveTo>
                      <a:pt x="185" y="72"/>
                    </a:moveTo>
                    <a:lnTo>
                      <a:pt x="177" y="48"/>
                    </a:lnTo>
                    <a:lnTo>
                      <a:pt x="177" y="16"/>
                    </a:lnTo>
                    <a:lnTo>
                      <a:pt x="151" y="0"/>
                    </a:lnTo>
                    <a:lnTo>
                      <a:pt x="126" y="0"/>
                    </a:lnTo>
                    <a:lnTo>
                      <a:pt x="109" y="0"/>
                    </a:lnTo>
                    <a:lnTo>
                      <a:pt x="84" y="0"/>
                    </a:lnTo>
                    <a:lnTo>
                      <a:pt x="84" y="8"/>
                    </a:lnTo>
                    <a:lnTo>
                      <a:pt x="84" y="0"/>
                    </a:lnTo>
                    <a:lnTo>
                      <a:pt x="67" y="8"/>
                    </a:lnTo>
                    <a:lnTo>
                      <a:pt x="59" y="24"/>
                    </a:lnTo>
                    <a:lnTo>
                      <a:pt x="50" y="40"/>
                    </a:lnTo>
                    <a:lnTo>
                      <a:pt x="16" y="40"/>
                    </a:lnTo>
                    <a:lnTo>
                      <a:pt x="16" y="56"/>
                    </a:lnTo>
                    <a:lnTo>
                      <a:pt x="0" y="72"/>
                    </a:lnTo>
                    <a:lnTo>
                      <a:pt x="33" y="120"/>
                    </a:lnTo>
                    <a:lnTo>
                      <a:pt x="67" y="96"/>
                    </a:lnTo>
                    <a:lnTo>
                      <a:pt x="92" y="112"/>
                    </a:lnTo>
                    <a:lnTo>
                      <a:pt x="101" y="136"/>
                    </a:lnTo>
                    <a:lnTo>
                      <a:pt x="118" y="136"/>
                    </a:lnTo>
                    <a:lnTo>
                      <a:pt x="134" y="144"/>
                    </a:lnTo>
                    <a:lnTo>
                      <a:pt x="143" y="144"/>
                    </a:lnTo>
                    <a:lnTo>
                      <a:pt x="168" y="128"/>
                    </a:lnTo>
                    <a:lnTo>
                      <a:pt x="193" y="120"/>
                    </a:lnTo>
                    <a:lnTo>
                      <a:pt x="202" y="88"/>
                    </a:lnTo>
                    <a:lnTo>
                      <a:pt x="185" y="72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88225779-F0E8-D144-D973-373AEB15E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408" y="2879418"/>
                <a:ext cx="929779" cy="1418401"/>
              </a:xfrm>
              <a:custGeom>
                <a:avLst/>
                <a:gdLst>
                  <a:gd name="T0" fmla="*/ 337 w 666"/>
                  <a:gd name="T1" fmla="*/ 96 h 1016"/>
                  <a:gd name="T2" fmla="*/ 421 w 666"/>
                  <a:gd name="T3" fmla="*/ 24 h 1016"/>
                  <a:gd name="T4" fmla="*/ 270 w 666"/>
                  <a:gd name="T5" fmla="*/ 24 h 1016"/>
                  <a:gd name="T6" fmla="*/ 253 w 666"/>
                  <a:gd name="T7" fmla="*/ 80 h 1016"/>
                  <a:gd name="T8" fmla="*/ 202 w 666"/>
                  <a:gd name="T9" fmla="*/ 136 h 1016"/>
                  <a:gd name="T10" fmla="*/ 169 w 666"/>
                  <a:gd name="T11" fmla="*/ 200 h 1016"/>
                  <a:gd name="T12" fmla="*/ 202 w 666"/>
                  <a:gd name="T13" fmla="*/ 232 h 1016"/>
                  <a:gd name="T14" fmla="*/ 169 w 666"/>
                  <a:gd name="T15" fmla="*/ 320 h 1016"/>
                  <a:gd name="T16" fmla="*/ 186 w 666"/>
                  <a:gd name="T17" fmla="*/ 344 h 1016"/>
                  <a:gd name="T18" fmla="*/ 228 w 666"/>
                  <a:gd name="T19" fmla="*/ 320 h 1016"/>
                  <a:gd name="T20" fmla="*/ 186 w 666"/>
                  <a:gd name="T21" fmla="*/ 424 h 1016"/>
                  <a:gd name="T22" fmla="*/ 236 w 666"/>
                  <a:gd name="T23" fmla="*/ 464 h 1016"/>
                  <a:gd name="T24" fmla="*/ 303 w 666"/>
                  <a:gd name="T25" fmla="*/ 448 h 1016"/>
                  <a:gd name="T26" fmla="*/ 287 w 666"/>
                  <a:gd name="T27" fmla="*/ 496 h 1016"/>
                  <a:gd name="T28" fmla="*/ 329 w 666"/>
                  <a:gd name="T29" fmla="*/ 576 h 1016"/>
                  <a:gd name="T30" fmla="*/ 295 w 666"/>
                  <a:gd name="T31" fmla="*/ 648 h 1016"/>
                  <a:gd name="T32" fmla="*/ 202 w 666"/>
                  <a:gd name="T33" fmla="*/ 624 h 1016"/>
                  <a:gd name="T34" fmla="*/ 160 w 666"/>
                  <a:gd name="T35" fmla="*/ 680 h 1016"/>
                  <a:gd name="T36" fmla="*/ 211 w 666"/>
                  <a:gd name="T37" fmla="*/ 744 h 1016"/>
                  <a:gd name="T38" fmla="*/ 101 w 666"/>
                  <a:gd name="T39" fmla="*/ 776 h 1016"/>
                  <a:gd name="T40" fmla="*/ 101 w 666"/>
                  <a:gd name="T41" fmla="*/ 808 h 1016"/>
                  <a:gd name="T42" fmla="*/ 169 w 666"/>
                  <a:gd name="T43" fmla="*/ 824 h 1016"/>
                  <a:gd name="T44" fmla="*/ 219 w 666"/>
                  <a:gd name="T45" fmla="*/ 864 h 1016"/>
                  <a:gd name="T46" fmla="*/ 295 w 666"/>
                  <a:gd name="T47" fmla="*/ 848 h 1016"/>
                  <a:gd name="T48" fmla="*/ 228 w 666"/>
                  <a:gd name="T49" fmla="*/ 896 h 1016"/>
                  <a:gd name="T50" fmla="*/ 127 w 666"/>
                  <a:gd name="T51" fmla="*/ 904 h 1016"/>
                  <a:gd name="T52" fmla="*/ 0 w 666"/>
                  <a:gd name="T53" fmla="*/ 984 h 1016"/>
                  <a:gd name="T54" fmla="*/ 51 w 666"/>
                  <a:gd name="T55" fmla="*/ 1016 h 1016"/>
                  <a:gd name="T56" fmla="*/ 93 w 666"/>
                  <a:gd name="T57" fmla="*/ 976 h 1016"/>
                  <a:gd name="T58" fmla="*/ 219 w 666"/>
                  <a:gd name="T59" fmla="*/ 960 h 1016"/>
                  <a:gd name="T60" fmla="*/ 337 w 666"/>
                  <a:gd name="T61" fmla="*/ 984 h 1016"/>
                  <a:gd name="T62" fmla="*/ 421 w 666"/>
                  <a:gd name="T63" fmla="*/ 968 h 1016"/>
                  <a:gd name="T64" fmla="*/ 573 w 666"/>
                  <a:gd name="T65" fmla="*/ 968 h 1016"/>
                  <a:gd name="T66" fmla="*/ 624 w 666"/>
                  <a:gd name="T67" fmla="*/ 928 h 1016"/>
                  <a:gd name="T68" fmla="*/ 590 w 666"/>
                  <a:gd name="T69" fmla="*/ 872 h 1016"/>
                  <a:gd name="T70" fmla="*/ 649 w 666"/>
                  <a:gd name="T71" fmla="*/ 840 h 1016"/>
                  <a:gd name="T72" fmla="*/ 666 w 666"/>
                  <a:gd name="T73" fmla="*/ 760 h 1016"/>
                  <a:gd name="T74" fmla="*/ 539 w 666"/>
                  <a:gd name="T75" fmla="*/ 728 h 1016"/>
                  <a:gd name="T76" fmla="*/ 523 w 666"/>
                  <a:gd name="T77" fmla="*/ 632 h 1016"/>
                  <a:gd name="T78" fmla="*/ 539 w 666"/>
                  <a:gd name="T79" fmla="*/ 576 h 1016"/>
                  <a:gd name="T80" fmla="*/ 480 w 666"/>
                  <a:gd name="T81" fmla="*/ 512 h 1016"/>
                  <a:gd name="T82" fmla="*/ 455 w 666"/>
                  <a:gd name="T83" fmla="*/ 392 h 1016"/>
                  <a:gd name="T84" fmla="*/ 413 w 666"/>
                  <a:gd name="T85" fmla="*/ 344 h 1016"/>
                  <a:gd name="T86" fmla="*/ 337 w 666"/>
                  <a:gd name="T87" fmla="*/ 320 h 1016"/>
                  <a:gd name="T88" fmla="*/ 388 w 666"/>
                  <a:gd name="T89" fmla="*/ 280 h 1016"/>
                  <a:gd name="T90" fmla="*/ 447 w 666"/>
                  <a:gd name="T91" fmla="*/ 224 h 1016"/>
                  <a:gd name="T92" fmla="*/ 489 w 666"/>
                  <a:gd name="T93" fmla="*/ 144 h 1016"/>
                  <a:gd name="T94" fmla="*/ 379 w 666"/>
                  <a:gd name="T95" fmla="*/ 120 h 10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66" h="1016">
                    <a:moveTo>
                      <a:pt x="329" y="128"/>
                    </a:moveTo>
                    <a:lnTo>
                      <a:pt x="354" y="104"/>
                    </a:lnTo>
                    <a:lnTo>
                      <a:pt x="337" y="96"/>
                    </a:lnTo>
                    <a:lnTo>
                      <a:pt x="388" y="64"/>
                    </a:lnTo>
                    <a:lnTo>
                      <a:pt x="413" y="56"/>
                    </a:lnTo>
                    <a:lnTo>
                      <a:pt x="421" y="24"/>
                    </a:lnTo>
                    <a:lnTo>
                      <a:pt x="320" y="16"/>
                    </a:lnTo>
                    <a:lnTo>
                      <a:pt x="287" y="0"/>
                    </a:lnTo>
                    <a:lnTo>
                      <a:pt x="270" y="24"/>
                    </a:lnTo>
                    <a:lnTo>
                      <a:pt x="253" y="40"/>
                    </a:lnTo>
                    <a:lnTo>
                      <a:pt x="245" y="56"/>
                    </a:lnTo>
                    <a:lnTo>
                      <a:pt x="253" y="80"/>
                    </a:lnTo>
                    <a:lnTo>
                      <a:pt x="219" y="88"/>
                    </a:lnTo>
                    <a:lnTo>
                      <a:pt x="202" y="104"/>
                    </a:lnTo>
                    <a:lnTo>
                      <a:pt x="202" y="136"/>
                    </a:lnTo>
                    <a:lnTo>
                      <a:pt x="202" y="160"/>
                    </a:lnTo>
                    <a:lnTo>
                      <a:pt x="186" y="184"/>
                    </a:lnTo>
                    <a:lnTo>
                      <a:pt x="169" y="200"/>
                    </a:lnTo>
                    <a:lnTo>
                      <a:pt x="135" y="248"/>
                    </a:lnTo>
                    <a:lnTo>
                      <a:pt x="160" y="256"/>
                    </a:lnTo>
                    <a:lnTo>
                      <a:pt x="202" y="232"/>
                    </a:lnTo>
                    <a:lnTo>
                      <a:pt x="186" y="264"/>
                    </a:lnTo>
                    <a:lnTo>
                      <a:pt x="177" y="296"/>
                    </a:lnTo>
                    <a:lnTo>
                      <a:pt x="169" y="320"/>
                    </a:lnTo>
                    <a:lnTo>
                      <a:pt x="143" y="376"/>
                    </a:lnTo>
                    <a:lnTo>
                      <a:pt x="169" y="376"/>
                    </a:lnTo>
                    <a:lnTo>
                      <a:pt x="186" y="344"/>
                    </a:lnTo>
                    <a:lnTo>
                      <a:pt x="202" y="304"/>
                    </a:lnTo>
                    <a:lnTo>
                      <a:pt x="211" y="328"/>
                    </a:lnTo>
                    <a:lnTo>
                      <a:pt x="228" y="320"/>
                    </a:lnTo>
                    <a:lnTo>
                      <a:pt x="219" y="344"/>
                    </a:lnTo>
                    <a:lnTo>
                      <a:pt x="228" y="360"/>
                    </a:lnTo>
                    <a:lnTo>
                      <a:pt x="186" y="424"/>
                    </a:lnTo>
                    <a:lnTo>
                      <a:pt x="194" y="472"/>
                    </a:lnTo>
                    <a:lnTo>
                      <a:pt x="202" y="440"/>
                    </a:lnTo>
                    <a:lnTo>
                      <a:pt x="236" y="464"/>
                    </a:lnTo>
                    <a:lnTo>
                      <a:pt x="253" y="456"/>
                    </a:lnTo>
                    <a:lnTo>
                      <a:pt x="278" y="464"/>
                    </a:lnTo>
                    <a:lnTo>
                      <a:pt x="303" y="448"/>
                    </a:lnTo>
                    <a:lnTo>
                      <a:pt x="329" y="456"/>
                    </a:lnTo>
                    <a:lnTo>
                      <a:pt x="295" y="480"/>
                    </a:lnTo>
                    <a:lnTo>
                      <a:pt x="287" y="496"/>
                    </a:lnTo>
                    <a:lnTo>
                      <a:pt x="312" y="544"/>
                    </a:lnTo>
                    <a:lnTo>
                      <a:pt x="329" y="544"/>
                    </a:lnTo>
                    <a:lnTo>
                      <a:pt x="329" y="576"/>
                    </a:lnTo>
                    <a:lnTo>
                      <a:pt x="320" y="576"/>
                    </a:lnTo>
                    <a:lnTo>
                      <a:pt x="312" y="632"/>
                    </a:lnTo>
                    <a:lnTo>
                      <a:pt x="295" y="648"/>
                    </a:lnTo>
                    <a:lnTo>
                      <a:pt x="287" y="640"/>
                    </a:lnTo>
                    <a:lnTo>
                      <a:pt x="236" y="640"/>
                    </a:lnTo>
                    <a:lnTo>
                      <a:pt x="202" y="624"/>
                    </a:lnTo>
                    <a:lnTo>
                      <a:pt x="186" y="632"/>
                    </a:lnTo>
                    <a:lnTo>
                      <a:pt x="202" y="648"/>
                    </a:lnTo>
                    <a:lnTo>
                      <a:pt x="160" y="680"/>
                    </a:lnTo>
                    <a:lnTo>
                      <a:pt x="177" y="688"/>
                    </a:lnTo>
                    <a:lnTo>
                      <a:pt x="202" y="680"/>
                    </a:lnTo>
                    <a:lnTo>
                      <a:pt x="211" y="744"/>
                    </a:lnTo>
                    <a:lnTo>
                      <a:pt x="169" y="760"/>
                    </a:lnTo>
                    <a:lnTo>
                      <a:pt x="143" y="768"/>
                    </a:lnTo>
                    <a:lnTo>
                      <a:pt x="101" y="776"/>
                    </a:lnTo>
                    <a:lnTo>
                      <a:pt x="84" y="784"/>
                    </a:lnTo>
                    <a:lnTo>
                      <a:pt x="93" y="792"/>
                    </a:lnTo>
                    <a:lnTo>
                      <a:pt x="101" y="808"/>
                    </a:lnTo>
                    <a:lnTo>
                      <a:pt x="135" y="824"/>
                    </a:lnTo>
                    <a:lnTo>
                      <a:pt x="152" y="808"/>
                    </a:lnTo>
                    <a:lnTo>
                      <a:pt x="169" y="824"/>
                    </a:lnTo>
                    <a:lnTo>
                      <a:pt x="160" y="840"/>
                    </a:lnTo>
                    <a:lnTo>
                      <a:pt x="194" y="840"/>
                    </a:lnTo>
                    <a:lnTo>
                      <a:pt x="219" y="864"/>
                    </a:lnTo>
                    <a:lnTo>
                      <a:pt x="261" y="864"/>
                    </a:lnTo>
                    <a:lnTo>
                      <a:pt x="278" y="856"/>
                    </a:lnTo>
                    <a:lnTo>
                      <a:pt x="295" y="848"/>
                    </a:lnTo>
                    <a:lnTo>
                      <a:pt x="270" y="872"/>
                    </a:lnTo>
                    <a:lnTo>
                      <a:pt x="261" y="888"/>
                    </a:lnTo>
                    <a:lnTo>
                      <a:pt x="228" y="896"/>
                    </a:lnTo>
                    <a:lnTo>
                      <a:pt x="160" y="888"/>
                    </a:lnTo>
                    <a:lnTo>
                      <a:pt x="152" y="896"/>
                    </a:lnTo>
                    <a:lnTo>
                      <a:pt x="127" y="904"/>
                    </a:lnTo>
                    <a:lnTo>
                      <a:pt x="110" y="928"/>
                    </a:lnTo>
                    <a:lnTo>
                      <a:pt x="42" y="976"/>
                    </a:lnTo>
                    <a:lnTo>
                      <a:pt x="0" y="984"/>
                    </a:lnTo>
                    <a:lnTo>
                      <a:pt x="9" y="992"/>
                    </a:lnTo>
                    <a:lnTo>
                      <a:pt x="34" y="992"/>
                    </a:lnTo>
                    <a:lnTo>
                      <a:pt x="51" y="1016"/>
                    </a:lnTo>
                    <a:lnTo>
                      <a:pt x="68" y="1008"/>
                    </a:lnTo>
                    <a:lnTo>
                      <a:pt x="68" y="992"/>
                    </a:lnTo>
                    <a:lnTo>
                      <a:pt x="93" y="976"/>
                    </a:lnTo>
                    <a:lnTo>
                      <a:pt x="143" y="976"/>
                    </a:lnTo>
                    <a:lnTo>
                      <a:pt x="169" y="1008"/>
                    </a:lnTo>
                    <a:lnTo>
                      <a:pt x="219" y="960"/>
                    </a:lnTo>
                    <a:lnTo>
                      <a:pt x="261" y="952"/>
                    </a:lnTo>
                    <a:lnTo>
                      <a:pt x="295" y="976"/>
                    </a:lnTo>
                    <a:lnTo>
                      <a:pt x="337" y="984"/>
                    </a:lnTo>
                    <a:lnTo>
                      <a:pt x="346" y="968"/>
                    </a:lnTo>
                    <a:lnTo>
                      <a:pt x="388" y="968"/>
                    </a:lnTo>
                    <a:lnTo>
                      <a:pt x="421" y="968"/>
                    </a:lnTo>
                    <a:lnTo>
                      <a:pt x="472" y="968"/>
                    </a:lnTo>
                    <a:lnTo>
                      <a:pt x="506" y="984"/>
                    </a:lnTo>
                    <a:lnTo>
                      <a:pt x="573" y="968"/>
                    </a:lnTo>
                    <a:lnTo>
                      <a:pt x="590" y="952"/>
                    </a:lnTo>
                    <a:lnTo>
                      <a:pt x="624" y="952"/>
                    </a:lnTo>
                    <a:lnTo>
                      <a:pt x="624" y="928"/>
                    </a:lnTo>
                    <a:lnTo>
                      <a:pt x="565" y="912"/>
                    </a:lnTo>
                    <a:lnTo>
                      <a:pt x="590" y="896"/>
                    </a:lnTo>
                    <a:lnTo>
                      <a:pt x="590" y="872"/>
                    </a:lnTo>
                    <a:lnTo>
                      <a:pt x="624" y="872"/>
                    </a:lnTo>
                    <a:lnTo>
                      <a:pt x="624" y="856"/>
                    </a:lnTo>
                    <a:lnTo>
                      <a:pt x="649" y="840"/>
                    </a:lnTo>
                    <a:lnTo>
                      <a:pt x="657" y="816"/>
                    </a:lnTo>
                    <a:lnTo>
                      <a:pt x="666" y="800"/>
                    </a:lnTo>
                    <a:lnTo>
                      <a:pt x="666" y="760"/>
                    </a:lnTo>
                    <a:lnTo>
                      <a:pt x="582" y="728"/>
                    </a:lnTo>
                    <a:lnTo>
                      <a:pt x="565" y="744"/>
                    </a:lnTo>
                    <a:lnTo>
                      <a:pt x="539" y="728"/>
                    </a:lnTo>
                    <a:lnTo>
                      <a:pt x="573" y="704"/>
                    </a:lnTo>
                    <a:lnTo>
                      <a:pt x="556" y="656"/>
                    </a:lnTo>
                    <a:lnTo>
                      <a:pt x="523" y="632"/>
                    </a:lnTo>
                    <a:lnTo>
                      <a:pt x="548" y="632"/>
                    </a:lnTo>
                    <a:lnTo>
                      <a:pt x="539" y="592"/>
                    </a:lnTo>
                    <a:lnTo>
                      <a:pt x="539" y="576"/>
                    </a:lnTo>
                    <a:lnTo>
                      <a:pt x="531" y="560"/>
                    </a:lnTo>
                    <a:lnTo>
                      <a:pt x="523" y="536"/>
                    </a:lnTo>
                    <a:lnTo>
                      <a:pt x="480" y="512"/>
                    </a:lnTo>
                    <a:lnTo>
                      <a:pt x="472" y="480"/>
                    </a:lnTo>
                    <a:lnTo>
                      <a:pt x="455" y="440"/>
                    </a:lnTo>
                    <a:lnTo>
                      <a:pt x="455" y="392"/>
                    </a:lnTo>
                    <a:lnTo>
                      <a:pt x="447" y="376"/>
                    </a:lnTo>
                    <a:lnTo>
                      <a:pt x="421" y="352"/>
                    </a:lnTo>
                    <a:lnTo>
                      <a:pt x="413" y="344"/>
                    </a:lnTo>
                    <a:lnTo>
                      <a:pt x="396" y="328"/>
                    </a:lnTo>
                    <a:lnTo>
                      <a:pt x="362" y="328"/>
                    </a:lnTo>
                    <a:lnTo>
                      <a:pt x="337" y="320"/>
                    </a:lnTo>
                    <a:lnTo>
                      <a:pt x="371" y="312"/>
                    </a:lnTo>
                    <a:lnTo>
                      <a:pt x="396" y="304"/>
                    </a:lnTo>
                    <a:lnTo>
                      <a:pt x="388" y="280"/>
                    </a:lnTo>
                    <a:lnTo>
                      <a:pt x="421" y="264"/>
                    </a:lnTo>
                    <a:lnTo>
                      <a:pt x="421" y="248"/>
                    </a:lnTo>
                    <a:lnTo>
                      <a:pt x="447" y="224"/>
                    </a:lnTo>
                    <a:lnTo>
                      <a:pt x="455" y="192"/>
                    </a:lnTo>
                    <a:lnTo>
                      <a:pt x="489" y="168"/>
                    </a:lnTo>
                    <a:lnTo>
                      <a:pt x="489" y="144"/>
                    </a:lnTo>
                    <a:lnTo>
                      <a:pt x="447" y="144"/>
                    </a:lnTo>
                    <a:lnTo>
                      <a:pt x="430" y="128"/>
                    </a:lnTo>
                    <a:lnTo>
                      <a:pt x="379" y="120"/>
                    </a:lnTo>
                    <a:lnTo>
                      <a:pt x="329" y="12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27D5B9BB-7846-8B57-DB6F-7729AE7BD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8829" y="1740230"/>
                <a:ext cx="823678" cy="591932"/>
              </a:xfrm>
              <a:custGeom>
                <a:avLst/>
                <a:gdLst>
                  <a:gd name="T0" fmla="*/ 101 w 590"/>
                  <a:gd name="T1" fmla="*/ 320 h 424"/>
                  <a:gd name="T2" fmla="*/ 135 w 590"/>
                  <a:gd name="T3" fmla="*/ 384 h 424"/>
                  <a:gd name="T4" fmla="*/ 202 w 590"/>
                  <a:gd name="T5" fmla="*/ 424 h 424"/>
                  <a:gd name="T6" fmla="*/ 253 w 590"/>
                  <a:gd name="T7" fmla="*/ 424 h 424"/>
                  <a:gd name="T8" fmla="*/ 287 w 590"/>
                  <a:gd name="T9" fmla="*/ 416 h 424"/>
                  <a:gd name="T10" fmla="*/ 346 w 590"/>
                  <a:gd name="T11" fmla="*/ 424 h 424"/>
                  <a:gd name="T12" fmla="*/ 430 w 590"/>
                  <a:gd name="T13" fmla="*/ 392 h 424"/>
                  <a:gd name="T14" fmla="*/ 463 w 590"/>
                  <a:gd name="T15" fmla="*/ 400 h 424"/>
                  <a:gd name="T16" fmla="*/ 506 w 590"/>
                  <a:gd name="T17" fmla="*/ 376 h 424"/>
                  <a:gd name="T18" fmla="*/ 556 w 590"/>
                  <a:gd name="T19" fmla="*/ 352 h 424"/>
                  <a:gd name="T20" fmla="*/ 590 w 590"/>
                  <a:gd name="T21" fmla="*/ 272 h 424"/>
                  <a:gd name="T22" fmla="*/ 565 w 590"/>
                  <a:gd name="T23" fmla="*/ 256 h 424"/>
                  <a:gd name="T24" fmla="*/ 556 w 590"/>
                  <a:gd name="T25" fmla="*/ 224 h 424"/>
                  <a:gd name="T26" fmla="*/ 565 w 590"/>
                  <a:gd name="T27" fmla="*/ 192 h 424"/>
                  <a:gd name="T28" fmla="*/ 573 w 590"/>
                  <a:gd name="T29" fmla="*/ 160 h 424"/>
                  <a:gd name="T30" fmla="*/ 531 w 590"/>
                  <a:gd name="T31" fmla="*/ 160 h 424"/>
                  <a:gd name="T32" fmla="*/ 506 w 590"/>
                  <a:gd name="T33" fmla="*/ 120 h 424"/>
                  <a:gd name="T34" fmla="*/ 480 w 590"/>
                  <a:gd name="T35" fmla="*/ 144 h 424"/>
                  <a:gd name="T36" fmla="*/ 472 w 590"/>
                  <a:gd name="T37" fmla="*/ 160 h 424"/>
                  <a:gd name="T38" fmla="*/ 447 w 590"/>
                  <a:gd name="T39" fmla="*/ 152 h 424"/>
                  <a:gd name="T40" fmla="*/ 413 w 590"/>
                  <a:gd name="T41" fmla="*/ 160 h 424"/>
                  <a:gd name="T42" fmla="*/ 405 w 590"/>
                  <a:gd name="T43" fmla="*/ 128 h 424"/>
                  <a:gd name="T44" fmla="*/ 379 w 590"/>
                  <a:gd name="T45" fmla="*/ 128 h 424"/>
                  <a:gd name="T46" fmla="*/ 371 w 590"/>
                  <a:gd name="T47" fmla="*/ 152 h 424"/>
                  <a:gd name="T48" fmla="*/ 354 w 590"/>
                  <a:gd name="T49" fmla="*/ 112 h 424"/>
                  <a:gd name="T50" fmla="*/ 312 w 590"/>
                  <a:gd name="T51" fmla="*/ 120 h 424"/>
                  <a:gd name="T52" fmla="*/ 295 w 590"/>
                  <a:gd name="T53" fmla="*/ 144 h 424"/>
                  <a:gd name="T54" fmla="*/ 278 w 590"/>
                  <a:gd name="T55" fmla="*/ 144 h 424"/>
                  <a:gd name="T56" fmla="*/ 270 w 590"/>
                  <a:gd name="T57" fmla="*/ 88 h 424"/>
                  <a:gd name="T58" fmla="*/ 253 w 590"/>
                  <a:gd name="T59" fmla="*/ 96 h 424"/>
                  <a:gd name="T60" fmla="*/ 244 w 590"/>
                  <a:gd name="T61" fmla="*/ 152 h 424"/>
                  <a:gd name="T62" fmla="*/ 228 w 590"/>
                  <a:gd name="T63" fmla="*/ 152 h 424"/>
                  <a:gd name="T64" fmla="*/ 219 w 590"/>
                  <a:gd name="T65" fmla="*/ 128 h 424"/>
                  <a:gd name="T66" fmla="*/ 177 w 590"/>
                  <a:gd name="T67" fmla="*/ 160 h 424"/>
                  <a:gd name="T68" fmla="*/ 185 w 590"/>
                  <a:gd name="T69" fmla="*/ 112 h 424"/>
                  <a:gd name="T70" fmla="*/ 211 w 590"/>
                  <a:gd name="T71" fmla="*/ 88 h 424"/>
                  <a:gd name="T72" fmla="*/ 185 w 590"/>
                  <a:gd name="T73" fmla="*/ 16 h 424"/>
                  <a:gd name="T74" fmla="*/ 143 w 590"/>
                  <a:gd name="T75" fmla="*/ 0 h 424"/>
                  <a:gd name="T76" fmla="*/ 152 w 590"/>
                  <a:gd name="T77" fmla="*/ 64 h 424"/>
                  <a:gd name="T78" fmla="*/ 118 w 590"/>
                  <a:gd name="T79" fmla="*/ 16 h 424"/>
                  <a:gd name="T80" fmla="*/ 93 w 590"/>
                  <a:gd name="T81" fmla="*/ 32 h 424"/>
                  <a:gd name="T82" fmla="*/ 76 w 590"/>
                  <a:gd name="T83" fmla="*/ 48 h 424"/>
                  <a:gd name="T84" fmla="*/ 93 w 590"/>
                  <a:gd name="T85" fmla="*/ 64 h 424"/>
                  <a:gd name="T86" fmla="*/ 59 w 590"/>
                  <a:gd name="T87" fmla="*/ 48 h 424"/>
                  <a:gd name="T88" fmla="*/ 51 w 590"/>
                  <a:gd name="T89" fmla="*/ 64 h 424"/>
                  <a:gd name="T90" fmla="*/ 25 w 590"/>
                  <a:gd name="T91" fmla="*/ 64 h 424"/>
                  <a:gd name="T92" fmla="*/ 42 w 590"/>
                  <a:gd name="T93" fmla="*/ 88 h 424"/>
                  <a:gd name="T94" fmla="*/ 101 w 590"/>
                  <a:gd name="T95" fmla="*/ 96 h 424"/>
                  <a:gd name="T96" fmla="*/ 143 w 590"/>
                  <a:gd name="T97" fmla="*/ 128 h 424"/>
                  <a:gd name="T98" fmla="*/ 110 w 590"/>
                  <a:gd name="T99" fmla="*/ 144 h 424"/>
                  <a:gd name="T100" fmla="*/ 126 w 590"/>
                  <a:gd name="T101" fmla="*/ 160 h 424"/>
                  <a:gd name="T102" fmla="*/ 143 w 590"/>
                  <a:gd name="T103" fmla="*/ 176 h 424"/>
                  <a:gd name="T104" fmla="*/ 126 w 590"/>
                  <a:gd name="T105" fmla="*/ 184 h 424"/>
                  <a:gd name="T106" fmla="*/ 8 w 590"/>
                  <a:gd name="T107" fmla="*/ 144 h 424"/>
                  <a:gd name="T108" fmla="*/ 0 w 590"/>
                  <a:gd name="T109" fmla="*/ 168 h 424"/>
                  <a:gd name="T110" fmla="*/ 93 w 590"/>
                  <a:gd name="T111" fmla="*/ 192 h 424"/>
                  <a:gd name="T112" fmla="*/ 84 w 590"/>
                  <a:gd name="T113" fmla="*/ 216 h 424"/>
                  <a:gd name="T114" fmla="*/ 84 w 590"/>
                  <a:gd name="T115" fmla="*/ 256 h 424"/>
                  <a:gd name="T116" fmla="*/ 67 w 590"/>
                  <a:gd name="T117" fmla="*/ 280 h 424"/>
                  <a:gd name="T118" fmla="*/ 34 w 590"/>
                  <a:gd name="T119" fmla="*/ 280 h 424"/>
                  <a:gd name="T120" fmla="*/ 17 w 590"/>
                  <a:gd name="T121" fmla="*/ 296 h 424"/>
                  <a:gd name="T122" fmla="*/ 101 w 590"/>
                  <a:gd name="T123" fmla="*/ 320 h 42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90" h="424">
                    <a:moveTo>
                      <a:pt x="101" y="320"/>
                    </a:moveTo>
                    <a:lnTo>
                      <a:pt x="135" y="384"/>
                    </a:lnTo>
                    <a:lnTo>
                      <a:pt x="202" y="424"/>
                    </a:lnTo>
                    <a:lnTo>
                      <a:pt x="253" y="424"/>
                    </a:lnTo>
                    <a:lnTo>
                      <a:pt x="287" y="416"/>
                    </a:lnTo>
                    <a:lnTo>
                      <a:pt x="346" y="424"/>
                    </a:lnTo>
                    <a:lnTo>
                      <a:pt x="430" y="392"/>
                    </a:lnTo>
                    <a:lnTo>
                      <a:pt x="463" y="400"/>
                    </a:lnTo>
                    <a:lnTo>
                      <a:pt x="506" y="376"/>
                    </a:lnTo>
                    <a:lnTo>
                      <a:pt x="556" y="352"/>
                    </a:lnTo>
                    <a:lnTo>
                      <a:pt x="590" y="272"/>
                    </a:lnTo>
                    <a:lnTo>
                      <a:pt x="565" y="256"/>
                    </a:lnTo>
                    <a:lnTo>
                      <a:pt x="556" y="224"/>
                    </a:lnTo>
                    <a:lnTo>
                      <a:pt x="565" y="192"/>
                    </a:lnTo>
                    <a:lnTo>
                      <a:pt x="573" y="160"/>
                    </a:lnTo>
                    <a:lnTo>
                      <a:pt x="531" y="160"/>
                    </a:lnTo>
                    <a:lnTo>
                      <a:pt x="506" y="120"/>
                    </a:lnTo>
                    <a:lnTo>
                      <a:pt x="480" y="144"/>
                    </a:lnTo>
                    <a:lnTo>
                      <a:pt x="472" y="160"/>
                    </a:lnTo>
                    <a:lnTo>
                      <a:pt x="447" y="152"/>
                    </a:lnTo>
                    <a:lnTo>
                      <a:pt x="413" y="160"/>
                    </a:lnTo>
                    <a:lnTo>
                      <a:pt x="405" y="128"/>
                    </a:lnTo>
                    <a:lnTo>
                      <a:pt x="379" y="128"/>
                    </a:lnTo>
                    <a:lnTo>
                      <a:pt x="371" y="152"/>
                    </a:lnTo>
                    <a:lnTo>
                      <a:pt x="354" y="112"/>
                    </a:lnTo>
                    <a:lnTo>
                      <a:pt x="312" y="120"/>
                    </a:lnTo>
                    <a:lnTo>
                      <a:pt x="295" y="144"/>
                    </a:lnTo>
                    <a:lnTo>
                      <a:pt x="278" y="144"/>
                    </a:lnTo>
                    <a:lnTo>
                      <a:pt x="270" y="88"/>
                    </a:lnTo>
                    <a:lnTo>
                      <a:pt x="253" y="96"/>
                    </a:lnTo>
                    <a:lnTo>
                      <a:pt x="244" y="152"/>
                    </a:lnTo>
                    <a:lnTo>
                      <a:pt x="228" y="152"/>
                    </a:lnTo>
                    <a:lnTo>
                      <a:pt x="219" y="128"/>
                    </a:lnTo>
                    <a:lnTo>
                      <a:pt x="177" y="160"/>
                    </a:lnTo>
                    <a:lnTo>
                      <a:pt x="185" y="112"/>
                    </a:lnTo>
                    <a:lnTo>
                      <a:pt x="211" y="88"/>
                    </a:lnTo>
                    <a:lnTo>
                      <a:pt x="185" y="16"/>
                    </a:lnTo>
                    <a:lnTo>
                      <a:pt x="143" y="0"/>
                    </a:lnTo>
                    <a:lnTo>
                      <a:pt x="152" y="64"/>
                    </a:lnTo>
                    <a:lnTo>
                      <a:pt x="118" y="16"/>
                    </a:lnTo>
                    <a:lnTo>
                      <a:pt x="93" y="32"/>
                    </a:lnTo>
                    <a:lnTo>
                      <a:pt x="76" y="48"/>
                    </a:lnTo>
                    <a:lnTo>
                      <a:pt x="93" y="64"/>
                    </a:lnTo>
                    <a:lnTo>
                      <a:pt x="59" y="48"/>
                    </a:lnTo>
                    <a:lnTo>
                      <a:pt x="51" y="64"/>
                    </a:lnTo>
                    <a:lnTo>
                      <a:pt x="25" y="64"/>
                    </a:lnTo>
                    <a:lnTo>
                      <a:pt x="42" y="88"/>
                    </a:lnTo>
                    <a:lnTo>
                      <a:pt x="101" y="96"/>
                    </a:lnTo>
                    <a:lnTo>
                      <a:pt x="143" y="128"/>
                    </a:lnTo>
                    <a:lnTo>
                      <a:pt x="110" y="144"/>
                    </a:lnTo>
                    <a:lnTo>
                      <a:pt x="126" y="160"/>
                    </a:lnTo>
                    <a:lnTo>
                      <a:pt x="143" y="176"/>
                    </a:lnTo>
                    <a:lnTo>
                      <a:pt x="126" y="184"/>
                    </a:lnTo>
                    <a:lnTo>
                      <a:pt x="8" y="144"/>
                    </a:lnTo>
                    <a:lnTo>
                      <a:pt x="0" y="168"/>
                    </a:lnTo>
                    <a:lnTo>
                      <a:pt x="93" y="192"/>
                    </a:lnTo>
                    <a:lnTo>
                      <a:pt x="84" y="216"/>
                    </a:lnTo>
                    <a:lnTo>
                      <a:pt x="84" y="256"/>
                    </a:lnTo>
                    <a:lnTo>
                      <a:pt x="67" y="280"/>
                    </a:lnTo>
                    <a:lnTo>
                      <a:pt x="34" y="280"/>
                    </a:lnTo>
                    <a:lnTo>
                      <a:pt x="17" y="296"/>
                    </a:lnTo>
                    <a:lnTo>
                      <a:pt x="101" y="32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4B92CD7C-79F1-C26B-8005-9E8F022BD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4402" y="3504854"/>
                <a:ext cx="93537" cy="89348"/>
              </a:xfrm>
              <a:custGeom>
                <a:avLst/>
                <a:gdLst>
                  <a:gd name="T0" fmla="*/ 0 w 67"/>
                  <a:gd name="T1" fmla="*/ 24 h 64"/>
                  <a:gd name="T2" fmla="*/ 17 w 67"/>
                  <a:gd name="T3" fmla="*/ 56 h 64"/>
                  <a:gd name="T4" fmla="*/ 51 w 67"/>
                  <a:gd name="T5" fmla="*/ 64 h 64"/>
                  <a:gd name="T6" fmla="*/ 67 w 67"/>
                  <a:gd name="T7" fmla="*/ 48 h 64"/>
                  <a:gd name="T8" fmla="*/ 59 w 67"/>
                  <a:gd name="T9" fmla="*/ 0 h 64"/>
                  <a:gd name="T10" fmla="*/ 0 w 67"/>
                  <a:gd name="T11" fmla="*/ 8 h 64"/>
                  <a:gd name="T12" fmla="*/ 0 w 67"/>
                  <a:gd name="T13" fmla="*/ 24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" h="64">
                    <a:moveTo>
                      <a:pt x="0" y="24"/>
                    </a:moveTo>
                    <a:lnTo>
                      <a:pt x="17" y="56"/>
                    </a:lnTo>
                    <a:lnTo>
                      <a:pt x="51" y="64"/>
                    </a:lnTo>
                    <a:lnTo>
                      <a:pt x="67" y="48"/>
                    </a:lnTo>
                    <a:lnTo>
                      <a:pt x="59" y="0"/>
                    </a:lnTo>
                    <a:lnTo>
                      <a:pt x="0" y="8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A2C93C04-6DAB-AB45-5C8E-58211EDF3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8829" y="1740230"/>
                <a:ext cx="823678" cy="591932"/>
              </a:xfrm>
              <a:custGeom>
                <a:avLst/>
                <a:gdLst>
                  <a:gd name="T0" fmla="*/ 101 w 590"/>
                  <a:gd name="T1" fmla="*/ 320 h 424"/>
                  <a:gd name="T2" fmla="*/ 135 w 590"/>
                  <a:gd name="T3" fmla="*/ 384 h 424"/>
                  <a:gd name="T4" fmla="*/ 202 w 590"/>
                  <a:gd name="T5" fmla="*/ 424 h 424"/>
                  <a:gd name="T6" fmla="*/ 253 w 590"/>
                  <a:gd name="T7" fmla="*/ 424 h 424"/>
                  <a:gd name="T8" fmla="*/ 287 w 590"/>
                  <a:gd name="T9" fmla="*/ 416 h 424"/>
                  <a:gd name="T10" fmla="*/ 346 w 590"/>
                  <a:gd name="T11" fmla="*/ 424 h 424"/>
                  <a:gd name="T12" fmla="*/ 430 w 590"/>
                  <a:gd name="T13" fmla="*/ 392 h 424"/>
                  <a:gd name="T14" fmla="*/ 463 w 590"/>
                  <a:gd name="T15" fmla="*/ 400 h 424"/>
                  <a:gd name="T16" fmla="*/ 506 w 590"/>
                  <a:gd name="T17" fmla="*/ 376 h 424"/>
                  <a:gd name="T18" fmla="*/ 556 w 590"/>
                  <a:gd name="T19" fmla="*/ 352 h 424"/>
                  <a:gd name="T20" fmla="*/ 590 w 590"/>
                  <a:gd name="T21" fmla="*/ 272 h 424"/>
                  <a:gd name="T22" fmla="*/ 565 w 590"/>
                  <a:gd name="T23" fmla="*/ 256 h 424"/>
                  <a:gd name="T24" fmla="*/ 556 w 590"/>
                  <a:gd name="T25" fmla="*/ 224 h 424"/>
                  <a:gd name="T26" fmla="*/ 565 w 590"/>
                  <a:gd name="T27" fmla="*/ 192 h 424"/>
                  <a:gd name="T28" fmla="*/ 573 w 590"/>
                  <a:gd name="T29" fmla="*/ 160 h 424"/>
                  <a:gd name="T30" fmla="*/ 531 w 590"/>
                  <a:gd name="T31" fmla="*/ 160 h 424"/>
                  <a:gd name="T32" fmla="*/ 506 w 590"/>
                  <a:gd name="T33" fmla="*/ 120 h 424"/>
                  <a:gd name="T34" fmla="*/ 480 w 590"/>
                  <a:gd name="T35" fmla="*/ 144 h 424"/>
                  <a:gd name="T36" fmla="*/ 472 w 590"/>
                  <a:gd name="T37" fmla="*/ 160 h 424"/>
                  <a:gd name="T38" fmla="*/ 447 w 590"/>
                  <a:gd name="T39" fmla="*/ 152 h 424"/>
                  <a:gd name="T40" fmla="*/ 413 w 590"/>
                  <a:gd name="T41" fmla="*/ 160 h 424"/>
                  <a:gd name="T42" fmla="*/ 405 w 590"/>
                  <a:gd name="T43" fmla="*/ 128 h 424"/>
                  <a:gd name="T44" fmla="*/ 379 w 590"/>
                  <a:gd name="T45" fmla="*/ 128 h 424"/>
                  <a:gd name="T46" fmla="*/ 371 w 590"/>
                  <a:gd name="T47" fmla="*/ 152 h 424"/>
                  <a:gd name="T48" fmla="*/ 354 w 590"/>
                  <a:gd name="T49" fmla="*/ 112 h 424"/>
                  <a:gd name="T50" fmla="*/ 312 w 590"/>
                  <a:gd name="T51" fmla="*/ 120 h 424"/>
                  <a:gd name="T52" fmla="*/ 295 w 590"/>
                  <a:gd name="T53" fmla="*/ 144 h 424"/>
                  <a:gd name="T54" fmla="*/ 278 w 590"/>
                  <a:gd name="T55" fmla="*/ 144 h 424"/>
                  <a:gd name="T56" fmla="*/ 270 w 590"/>
                  <a:gd name="T57" fmla="*/ 88 h 424"/>
                  <a:gd name="T58" fmla="*/ 253 w 590"/>
                  <a:gd name="T59" fmla="*/ 96 h 424"/>
                  <a:gd name="T60" fmla="*/ 244 w 590"/>
                  <a:gd name="T61" fmla="*/ 152 h 424"/>
                  <a:gd name="T62" fmla="*/ 228 w 590"/>
                  <a:gd name="T63" fmla="*/ 152 h 424"/>
                  <a:gd name="T64" fmla="*/ 219 w 590"/>
                  <a:gd name="T65" fmla="*/ 128 h 424"/>
                  <a:gd name="T66" fmla="*/ 177 w 590"/>
                  <a:gd name="T67" fmla="*/ 160 h 424"/>
                  <a:gd name="T68" fmla="*/ 185 w 590"/>
                  <a:gd name="T69" fmla="*/ 112 h 424"/>
                  <a:gd name="T70" fmla="*/ 211 w 590"/>
                  <a:gd name="T71" fmla="*/ 88 h 424"/>
                  <a:gd name="T72" fmla="*/ 185 w 590"/>
                  <a:gd name="T73" fmla="*/ 16 h 424"/>
                  <a:gd name="T74" fmla="*/ 143 w 590"/>
                  <a:gd name="T75" fmla="*/ 0 h 424"/>
                  <a:gd name="T76" fmla="*/ 152 w 590"/>
                  <a:gd name="T77" fmla="*/ 64 h 424"/>
                  <a:gd name="T78" fmla="*/ 118 w 590"/>
                  <a:gd name="T79" fmla="*/ 16 h 424"/>
                  <a:gd name="T80" fmla="*/ 93 w 590"/>
                  <a:gd name="T81" fmla="*/ 32 h 424"/>
                  <a:gd name="T82" fmla="*/ 76 w 590"/>
                  <a:gd name="T83" fmla="*/ 48 h 424"/>
                  <a:gd name="T84" fmla="*/ 93 w 590"/>
                  <a:gd name="T85" fmla="*/ 64 h 424"/>
                  <a:gd name="T86" fmla="*/ 59 w 590"/>
                  <a:gd name="T87" fmla="*/ 48 h 424"/>
                  <a:gd name="T88" fmla="*/ 51 w 590"/>
                  <a:gd name="T89" fmla="*/ 64 h 424"/>
                  <a:gd name="T90" fmla="*/ 25 w 590"/>
                  <a:gd name="T91" fmla="*/ 64 h 424"/>
                  <a:gd name="T92" fmla="*/ 42 w 590"/>
                  <a:gd name="T93" fmla="*/ 88 h 424"/>
                  <a:gd name="T94" fmla="*/ 101 w 590"/>
                  <a:gd name="T95" fmla="*/ 96 h 424"/>
                  <a:gd name="T96" fmla="*/ 143 w 590"/>
                  <a:gd name="T97" fmla="*/ 128 h 424"/>
                  <a:gd name="T98" fmla="*/ 110 w 590"/>
                  <a:gd name="T99" fmla="*/ 144 h 424"/>
                  <a:gd name="T100" fmla="*/ 126 w 590"/>
                  <a:gd name="T101" fmla="*/ 160 h 424"/>
                  <a:gd name="T102" fmla="*/ 143 w 590"/>
                  <a:gd name="T103" fmla="*/ 176 h 424"/>
                  <a:gd name="T104" fmla="*/ 126 w 590"/>
                  <a:gd name="T105" fmla="*/ 184 h 424"/>
                  <a:gd name="T106" fmla="*/ 8 w 590"/>
                  <a:gd name="T107" fmla="*/ 144 h 424"/>
                  <a:gd name="T108" fmla="*/ 0 w 590"/>
                  <a:gd name="T109" fmla="*/ 168 h 424"/>
                  <a:gd name="T110" fmla="*/ 93 w 590"/>
                  <a:gd name="T111" fmla="*/ 192 h 424"/>
                  <a:gd name="T112" fmla="*/ 84 w 590"/>
                  <a:gd name="T113" fmla="*/ 216 h 424"/>
                  <a:gd name="T114" fmla="*/ 84 w 590"/>
                  <a:gd name="T115" fmla="*/ 256 h 424"/>
                  <a:gd name="T116" fmla="*/ 67 w 590"/>
                  <a:gd name="T117" fmla="*/ 280 h 424"/>
                  <a:gd name="T118" fmla="*/ 34 w 590"/>
                  <a:gd name="T119" fmla="*/ 280 h 424"/>
                  <a:gd name="T120" fmla="*/ 17 w 590"/>
                  <a:gd name="T121" fmla="*/ 296 h 424"/>
                  <a:gd name="T122" fmla="*/ 101 w 590"/>
                  <a:gd name="T123" fmla="*/ 320 h 42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90" h="424">
                    <a:moveTo>
                      <a:pt x="101" y="320"/>
                    </a:moveTo>
                    <a:lnTo>
                      <a:pt x="135" y="384"/>
                    </a:lnTo>
                    <a:lnTo>
                      <a:pt x="202" y="424"/>
                    </a:lnTo>
                    <a:lnTo>
                      <a:pt x="253" y="424"/>
                    </a:lnTo>
                    <a:lnTo>
                      <a:pt x="287" y="416"/>
                    </a:lnTo>
                    <a:lnTo>
                      <a:pt x="346" y="424"/>
                    </a:lnTo>
                    <a:lnTo>
                      <a:pt x="430" y="392"/>
                    </a:lnTo>
                    <a:lnTo>
                      <a:pt x="463" y="400"/>
                    </a:lnTo>
                    <a:lnTo>
                      <a:pt x="506" y="376"/>
                    </a:lnTo>
                    <a:lnTo>
                      <a:pt x="556" y="352"/>
                    </a:lnTo>
                    <a:lnTo>
                      <a:pt x="590" y="272"/>
                    </a:lnTo>
                    <a:lnTo>
                      <a:pt x="565" y="256"/>
                    </a:lnTo>
                    <a:lnTo>
                      <a:pt x="556" y="224"/>
                    </a:lnTo>
                    <a:lnTo>
                      <a:pt x="565" y="192"/>
                    </a:lnTo>
                    <a:lnTo>
                      <a:pt x="573" y="160"/>
                    </a:lnTo>
                    <a:lnTo>
                      <a:pt x="531" y="160"/>
                    </a:lnTo>
                    <a:lnTo>
                      <a:pt x="506" y="120"/>
                    </a:lnTo>
                    <a:lnTo>
                      <a:pt x="480" y="144"/>
                    </a:lnTo>
                    <a:lnTo>
                      <a:pt x="472" y="160"/>
                    </a:lnTo>
                    <a:lnTo>
                      <a:pt x="447" y="152"/>
                    </a:lnTo>
                    <a:lnTo>
                      <a:pt x="413" y="160"/>
                    </a:lnTo>
                    <a:lnTo>
                      <a:pt x="405" y="128"/>
                    </a:lnTo>
                    <a:lnTo>
                      <a:pt x="379" y="128"/>
                    </a:lnTo>
                    <a:lnTo>
                      <a:pt x="371" y="152"/>
                    </a:lnTo>
                    <a:lnTo>
                      <a:pt x="354" y="112"/>
                    </a:lnTo>
                    <a:lnTo>
                      <a:pt x="312" y="120"/>
                    </a:lnTo>
                    <a:lnTo>
                      <a:pt x="295" y="144"/>
                    </a:lnTo>
                    <a:lnTo>
                      <a:pt x="278" y="144"/>
                    </a:lnTo>
                    <a:lnTo>
                      <a:pt x="270" y="88"/>
                    </a:lnTo>
                    <a:lnTo>
                      <a:pt x="253" y="96"/>
                    </a:lnTo>
                    <a:lnTo>
                      <a:pt x="244" y="152"/>
                    </a:lnTo>
                    <a:lnTo>
                      <a:pt x="228" y="152"/>
                    </a:lnTo>
                    <a:lnTo>
                      <a:pt x="219" y="128"/>
                    </a:lnTo>
                    <a:lnTo>
                      <a:pt x="177" y="160"/>
                    </a:lnTo>
                    <a:lnTo>
                      <a:pt x="185" y="112"/>
                    </a:lnTo>
                    <a:lnTo>
                      <a:pt x="211" y="88"/>
                    </a:lnTo>
                    <a:lnTo>
                      <a:pt x="185" y="16"/>
                    </a:lnTo>
                    <a:lnTo>
                      <a:pt x="143" y="0"/>
                    </a:lnTo>
                    <a:lnTo>
                      <a:pt x="152" y="64"/>
                    </a:lnTo>
                    <a:lnTo>
                      <a:pt x="118" y="16"/>
                    </a:lnTo>
                    <a:lnTo>
                      <a:pt x="93" y="32"/>
                    </a:lnTo>
                    <a:lnTo>
                      <a:pt x="76" y="48"/>
                    </a:lnTo>
                    <a:lnTo>
                      <a:pt x="93" y="64"/>
                    </a:lnTo>
                    <a:lnTo>
                      <a:pt x="59" y="48"/>
                    </a:lnTo>
                    <a:lnTo>
                      <a:pt x="51" y="64"/>
                    </a:lnTo>
                    <a:lnTo>
                      <a:pt x="25" y="64"/>
                    </a:lnTo>
                    <a:lnTo>
                      <a:pt x="42" y="88"/>
                    </a:lnTo>
                    <a:lnTo>
                      <a:pt x="101" y="96"/>
                    </a:lnTo>
                    <a:lnTo>
                      <a:pt x="143" y="128"/>
                    </a:lnTo>
                    <a:lnTo>
                      <a:pt x="110" y="144"/>
                    </a:lnTo>
                    <a:lnTo>
                      <a:pt x="126" y="160"/>
                    </a:lnTo>
                    <a:lnTo>
                      <a:pt x="143" y="176"/>
                    </a:lnTo>
                    <a:lnTo>
                      <a:pt x="126" y="184"/>
                    </a:lnTo>
                    <a:lnTo>
                      <a:pt x="8" y="144"/>
                    </a:lnTo>
                    <a:lnTo>
                      <a:pt x="0" y="168"/>
                    </a:lnTo>
                    <a:lnTo>
                      <a:pt x="93" y="192"/>
                    </a:lnTo>
                    <a:lnTo>
                      <a:pt x="84" y="216"/>
                    </a:lnTo>
                    <a:lnTo>
                      <a:pt x="84" y="256"/>
                    </a:lnTo>
                    <a:lnTo>
                      <a:pt x="67" y="280"/>
                    </a:lnTo>
                    <a:lnTo>
                      <a:pt x="34" y="280"/>
                    </a:lnTo>
                    <a:lnTo>
                      <a:pt x="17" y="296"/>
                    </a:lnTo>
                    <a:lnTo>
                      <a:pt x="101" y="32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C5C7FFD5-36FE-382C-0896-1C861C514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4402" y="3504854"/>
                <a:ext cx="93537" cy="89348"/>
              </a:xfrm>
              <a:custGeom>
                <a:avLst/>
                <a:gdLst>
                  <a:gd name="T0" fmla="*/ 0 w 67"/>
                  <a:gd name="T1" fmla="*/ 24 h 64"/>
                  <a:gd name="T2" fmla="*/ 17 w 67"/>
                  <a:gd name="T3" fmla="*/ 56 h 64"/>
                  <a:gd name="T4" fmla="*/ 51 w 67"/>
                  <a:gd name="T5" fmla="*/ 64 h 64"/>
                  <a:gd name="T6" fmla="*/ 67 w 67"/>
                  <a:gd name="T7" fmla="*/ 48 h 64"/>
                  <a:gd name="T8" fmla="*/ 59 w 67"/>
                  <a:gd name="T9" fmla="*/ 0 h 64"/>
                  <a:gd name="T10" fmla="*/ 0 w 67"/>
                  <a:gd name="T11" fmla="*/ 8 h 6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7" h="64">
                    <a:moveTo>
                      <a:pt x="0" y="24"/>
                    </a:moveTo>
                    <a:lnTo>
                      <a:pt x="17" y="56"/>
                    </a:lnTo>
                    <a:lnTo>
                      <a:pt x="51" y="64"/>
                    </a:lnTo>
                    <a:lnTo>
                      <a:pt x="67" y="48"/>
                    </a:lnTo>
                    <a:lnTo>
                      <a:pt x="59" y="0"/>
                    </a:lnTo>
                    <a:lnTo>
                      <a:pt x="0" y="8"/>
                    </a:lnTo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8">
                <a:extLst>
                  <a:ext uri="{FF2B5EF4-FFF2-40B4-BE49-F238E27FC236}">
                    <a16:creationId xmlns:a16="http://schemas.microsoft.com/office/drawing/2014/main" id="{53F62875-0A71-B419-3138-C1A03E534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4402" y="3504854"/>
                <a:ext cx="93537" cy="89348"/>
              </a:xfrm>
              <a:custGeom>
                <a:avLst/>
                <a:gdLst>
                  <a:gd name="T0" fmla="*/ 0 w 67"/>
                  <a:gd name="T1" fmla="*/ 24 h 64"/>
                  <a:gd name="T2" fmla="*/ 17 w 67"/>
                  <a:gd name="T3" fmla="*/ 56 h 64"/>
                  <a:gd name="T4" fmla="*/ 51 w 67"/>
                  <a:gd name="T5" fmla="*/ 64 h 64"/>
                  <a:gd name="T6" fmla="*/ 67 w 67"/>
                  <a:gd name="T7" fmla="*/ 48 h 64"/>
                  <a:gd name="T8" fmla="*/ 59 w 67"/>
                  <a:gd name="T9" fmla="*/ 0 h 64"/>
                  <a:gd name="T10" fmla="*/ 0 w 67"/>
                  <a:gd name="T11" fmla="*/ 8 h 6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7" h="64">
                    <a:moveTo>
                      <a:pt x="0" y="24"/>
                    </a:moveTo>
                    <a:lnTo>
                      <a:pt x="17" y="56"/>
                    </a:lnTo>
                    <a:lnTo>
                      <a:pt x="51" y="64"/>
                    </a:lnTo>
                    <a:lnTo>
                      <a:pt x="67" y="48"/>
                    </a:lnTo>
                    <a:lnTo>
                      <a:pt x="59" y="0"/>
                    </a:lnTo>
                    <a:lnTo>
                      <a:pt x="0" y="8"/>
                    </a:lnTo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19">
                <a:extLst>
                  <a:ext uri="{FF2B5EF4-FFF2-40B4-BE49-F238E27FC236}">
                    <a16:creationId xmlns:a16="http://schemas.microsoft.com/office/drawing/2014/main" id="{4787F327-6C97-9962-1534-C1005B8E1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4236" y="3415507"/>
                <a:ext cx="152171" cy="245707"/>
              </a:xfrm>
              <a:custGeom>
                <a:avLst/>
                <a:gdLst>
                  <a:gd name="T0" fmla="*/ 0 w 109"/>
                  <a:gd name="T1" fmla="*/ 168 h 176"/>
                  <a:gd name="T2" fmla="*/ 50 w 109"/>
                  <a:gd name="T3" fmla="*/ 176 h 176"/>
                  <a:gd name="T4" fmla="*/ 76 w 109"/>
                  <a:gd name="T5" fmla="*/ 144 h 176"/>
                  <a:gd name="T6" fmla="*/ 76 w 109"/>
                  <a:gd name="T7" fmla="*/ 112 h 176"/>
                  <a:gd name="T8" fmla="*/ 109 w 109"/>
                  <a:gd name="T9" fmla="*/ 96 h 176"/>
                  <a:gd name="T10" fmla="*/ 92 w 109"/>
                  <a:gd name="T11" fmla="*/ 72 h 176"/>
                  <a:gd name="T12" fmla="*/ 109 w 109"/>
                  <a:gd name="T13" fmla="*/ 64 h 176"/>
                  <a:gd name="T14" fmla="*/ 101 w 109"/>
                  <a:gd name="T15" fmla="*/ 8 h 176"/>
                  <a:gd name="T16" fmla="*/ 84 w 109"/>
                  <a:gd name="T17" fmla="*/ 0 h 176"/>
                  <a:gd name="T18" fmla="*/ 67 w 109"/>
                  <a:gd name="T19" fmla="*/ 16 h 176"/>
                  <a:gd name="T20" fmla="*/ 59 w 109"/>
                  <a:gd name="T21" fmla="*/ 48 h 176"/>
                  <a:gd name="T22" fmla="*/ 42 w 109"/>
                  <a:gd name="T23" fmla="*/ 16 h 176"/>
                  <a:gd name="T24" fmla="*/ 8 w 109"/>
                  <a:gd name="T25" fmla="*/ 40 h 176"/>
                  <a:gd name="T26" fmla="*/ 0 w 109"/>
                  <a:gd name="T27" fmla="*/ 48 h 176"/>
                  <a:gd name="T28" fmla="*/ 8 w 109"/>
                  <a:gd name="T29" fmla="*/ 72 h 176"/>
                  <a:gd name="T30" fmla="*/ 42 w 109"/>
                  <a:gd name="T31" fmla="*/ 88 h 176"/>
                  <a:gd name="T32" fmla="*/ 50 w 109"/>
                  <a:gd name="T33" fmla="*/ 112 h 176"/>
                  <a:gd name="T34" fmla="*/ 33 w 109"/>
                  <a:gd name="T35" fmla="*/ 144 h 176"/>
                  <a:gd name="T36" fmla="*/ 8 w 109"/>
                  <a:gd name="T37" fmla="*/ 136 h 176"/>
                  <a:gd name="T38" fmla="*/ 0 w 109"/>
                  <a:gd name="T39" fmla="*/ 168 h 17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9" h="176">
                    <a:moveTo>
                      <a:pt x="0" y="168"/>
                    </a:moveTo>
                    <a:lnTo>
                      <a:pt x="50" y="176"/>
                    </a:lnTo>
                    <a:lnTo>
                      <a:pt x="76" y="144"/>
                    </a:lnTo>
                    <a:lnTo>
                      <a:pt x="76" y="112"/>
                    </a:lnTo>
                    <a:lnTo>
                      <a:pt x="109" y="96"/>
                    </a:lnTo>
                    <a:lnTo>
                      <a:pt x="92" y="72"/>
                    </a:lnTo>
                    <a:lnTo>
                      <a:pt x="109" y="64"/>
                    </a:lnTo>
                    <a:lnTo>
                      <a:pt x="101" y="8"/>
                    </a:lnTo>
                    <a:lnTo>
                      <a:pt x="84" y="0"/>
                    </a:lnTo>
                    <a:lnTo>
                      <a:pt x="67" y="16"/>
                    </a:lnTo>
                    <a:lnTo>
                      <a:pt x="59" y="48"/>
                    </a:lnTo>
                    <a:lnTo>
                      <a:pt x="42" y="16"/>
                    </a:lnTo>
                    <a:lnTo>
                      <a:pt x="8" y="40"/>
                    </a:lnTo>
                    <a:lnTo>
                      <a:pt x="0" y="48"/>
                    </a:lnTo>
                    <a:lnTo>
                      <a:pt x="8" y="72"/>
                    </a:lnTo>
                    <a:lnTo>
                      <a:pt x="42" y="88"/>
                    </a:lnTo>
                    <a:lnTo>
                      <a:pt x="50" y="112"/>
                    </a:lnTo>
                    <a:lnTo>
                      <a:pt x="33" y="144"/>
                    </a:lnTo>
                    <a:lnTo>
                      <a:pt x="8" y="136"/>
                    </a:lnTo>
                    <a:lnTo>
                      <a:pt x="0" y="16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20">
                <a:extLst>
                  <a:ext uri="{FF2B5EF4-FFF2-40B4-BE49-F238E27FC236}">
                    <a16:creationId xmlns:a16="http://schemas.microsoft.com/office/drawing/2014/main" id="{F853902E-F98F-ED09-4C6D-2F6BC9EBF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5073" y="6386332"/>
                <a:ext cx="457909" cy="290381"/>
              </a:xfrm>
              <a:custGeom>
                <a:avLst/>
                <a:gdLst>
                  <a:gd name="T0" fmla="*/ 0 w 328"/>
                  <a:gd name="T1" fmla="*/ 80 h 208"/>
                  <a:gd name="T2" fmla="*/ 0 w 328"/>
                  <a:gd name="T3" fmla="*/ 56 h 208"/>
                  <a:gd name="T4" fmla="*/ 25 w 328"/>
                  <a:gd name="T5" fmla="*/ 32 h 208"/>
                  <a:gd name="T6" fmla="*/ 50 w 328"/>
                  <a:gd name="T7" fmla="*/ 48 h 208"/>
                  <a:gd name="T8" fmla="*/ 67 w 328"/>
                  <a:gd name="T9" fmla="*/ 32 h 208"/>
                  <a:gd name="T10" fmla="*/ 92 w 328"/>
                  <a:gd name="T11" fmla="*/ 24 h 208"/>
                  <a:gd name="T12" fmla="*/ 101 w 328"/>
                  <a:gd name="T13" fmla="*/ 32 h 208"/>
                  <a:gd name="T14" fmla="*/ 117 w 328"/>
                  <a:gd name="T15" fmla="*/ 40 h 208"/>
                  <a:gd name="T16" fmla="*/ 134 w 328"/>
                  <a:gd name="T17" fmla="*/ 48 h 208"/>
                  <a:gd name="T18" fmla="*/ 160 w 328"/>
                  <a:gd name="T19" fmla="*/ 40 h 208"/>
                  <a:gd name="T20" fmla="*/ 210 w 328"/>
                  <a:gd name="T21" fmla="*/ 40 h 208"/>
                  <a:gd name="T22" fmla="*/ 235 w 328"/>
                  <a:gd name="T23" fmla="*/ 32 h 208"/>
                  <a:gd name="T24" fmla="*/ 252 w 328"/>
                  <a:gd name="T25" fmla="*/ 16 h 208"/>
                  <a:gd name="T26" fmla="*/ 261 w 328"/>
                  <a:gd name="T27" fmla="*/ 16 h 208"/>
                  <a:gd name="T28" fmla="*/ 286 w 328"/>
                  <a:gd name="T29" fmla="*/ 24 h 208"/>
                  <a:gd name="T30" fmla="*/ 294 w 328"/>
                  <a:gd name="T31" fmla="*/ 8 h 208"/>
                  <a:gd name="T32" fmla="*/ 320 w 328"/>
                  <a:gd name="T33" fmla="*/ 0 h 208"/>
                  <a:gd name="T34" fmla="*/ 328 w 328"/>
                  <a:gd name="T35" fmla="*/ 16 h 208"/>
                  <a:gd name="T36" fmla="*/ 311 w 328"/>
                  <a:gd name="T37" fmla="*/ 56 h 208"/>
                  <a:gd name="T38" fmla="*/ 303 w 328"/>
                  <a:gd name="T39" fmla="*/ 80 h 208"/>
                  <a:gd name="T40" fmla="*/ 286 w 328"/>
                  <a:gd name="T41" fmla="*/ 104 h 208"/>
                  <a:gd name="T42" fmla="*/ 286 w 328"/>
                  <a:gd name="T43" fmla="*/ 112 h 208"/>
                  <a:gd name="T44" fmla="*/ 303 w 328"/>
                  <a:gd name="T45" fmla="*/ 128 h 208"/>
                  <a:gd name="T46" fmla="*/ 320 w 328"/>
                  <a:gd name="T47" fmla="*/ 160 h 208"/>
                  <a:gd name="T48" fmla="*/ 303 w 328"/>
                  <a:gd name="T49" fmla="*/ 176 h 208"/>
                  <a:gd name="T50" fmla="*/ 303 w 328"/>
                  <a:gd name="T51" fmla="*/ 208 h 208"/>
                  <a:gd name="T52" fmla="*/ 269 w 328"/>
                  <a:gd name="T53" fmla="*/ 200 h 208"/>
                  <a:gd name="T54" fmla="*/ 227 w 328"/>
                  <a:gd name="T55" fmla="*/ 192 h 208"/>
                  <a:gd name="T56" fmla="*/ 202 w 328"/>
                  <a:gd name="T57" fmla="*/ 152 h 208"/>
                  <a:gd name="T58" fmla="*/ 168 w 328"/>
                  <a:gd name="T59" fmla="*/ 160 h 208"/>
                  <a:gd name="T60" fmla="*/ 143 w 328"/>
                  <a:gd name="T61" fmla="*/ 144 h 208"/>
                  <a:gd name="T62" fmla="*/ 126 w 328"/>
                  <a:gd name="T63" fmla="*/ 128 h 208"/>
                  <a:gd name="T64" fmla="*/ 109 w 328"/>
                  <a:gd name="T65" fmla="*/ 128 h 208"/>
                  <a:gd name="T66" fmla="*/ 84 w 328"/>
                  <a:gd name="T67" fmla="*/ 112 h 208"/>
                  <a:gd name="T68" fmla="*/ 67 w 328"/>
                  <a:gd name="T69" fmla="*/ 112 h 208"/>
                  <a:gd name="T70" fmla="*/ 50 w 328"/>
                  <a:gd name="T71" fmla="*/ 96 h 208"/>
                  <a:gd name="T72" fmla="*/ 25 w 328"/>
                  <a:gd name="T73" fmla="*/ 104 h 208"/>
                  <a:gd name="T74" fmla="*/ 0 w 328"/>
                  <a:gd name="T75" fmla="*/ 80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28" h="208">
                    <a:moveTo>
                      <a:pt x="0" y="80"/>
                    </a:moveTo>
                    <a:lnTo>
                      <a:pt x="0" y="56"/>
                    </a:lnTo>
                    <a:lnTo>
                      <a:pt x="25" y="32"/>
                    </a:lnTo>
                    <a:lnTo>
                      <a:pt x="50" y="48"/>
                    </a:lnTo>
                    <a:lnTo>
                      <a:pt x="67" y="32"/>
                    </a:lnTo>
                    <a:lnTo>
                      <a:pt x="92" y="24"/>
                    </a:lnTo>
                    <a:lnTo>
                      <a:pt x="101" y="32"/>
                    </a:lnTo>
                    <a:lnTo>
                      <a:pt x="117" y="40"/>
                    </a:lnTo>
                    <a:lnTo>
                      <a:pt x="134" y="48"/>
                    </a:lnTo>
                    <a:lnTo>
                      <a:pt x="160" y="40"/>
                    </a:lnTo>
                    <a:lnTo>
                      <a:pt x="210" y="40"/>
                    </a:lnTo>
                    <a:lnTo>
                      <a:pt x="235" y="32"/>
                    </a:lnTo>
                    <a:lnTo>
                      <a:pt x="252" y="16"/>
                    </a:lnTo>
                    <a:lnTo>
                      <a:pt x="261" y="16"/>
                    </a:lnTo>
                    <a:lnTo>
                      <a:pt x="286" y="24"/>
                    </a:lnTo>
                    <a:lnTo>
                      <a:pt x="294" y="8"/>
                    </a:lnTo>
                    <a:lnTo>
                      <a:pt x="320" y="0"/>
                    </a:lnTo>
                    <a:lnTo>
                      <a:pt x="328" y="16"/>
                    </a:lnTo>
                    <a:lnTo>
                      <a:pt x="311" y="56"/>
                    </a:lnTo>
                    <a:lnTo>
                      <a:pt x="303" y="80"/>
                    </a:lnTo>
                    <a:lnTo>
                      <a:pt x="286" y="104"/>
                    </a:lnTo>
                    <a:lnTo>
                      <a:pt x="286" y="112"/>
                    </a:lnTo>
                    <a:lnTo>
                      <a:pt x="303" y="128"/>
                    </a:lnTo>
                    <a:lnTo>
                      <a:pt x="320" y="160"/>
                    </a:lnTo>
                    <a:lnTo>
                      <a:pt x="303" y="176"/>
                    </a:lnTo>
                    <a:lnTo>
                      <a:pt x="303" y="208"/>
                    </a:lnTo>
                    <a:lnTo>
                      <a:pt x="269" y="200"/>
                    </a:lnTo>
                    <a:lnTo>
                      <a:pt x="227" y="192"/>
                    </a:lnTo>
                    <a:lnTo>
                      <a:pt x="202" y="152"/>
                    </a:lnTo>
                    <a:lnTo>
                      <a:pt x="168" y="160"/>
                    </a:lnTo>
                    <a:lnTo>
                      <a:pt x="143" y="144"/>
                    </a:lnTo>
                    <a:lnTo>
                      <a:pt x="126" y="128"/>
                    </a:lnTo>
                    <a:lnTo>
                      <a:pt x="109" y="128"/>
                    </a:lnTo>
                    <a:lnTo>
                      <a:pt x="84" y="112"/>
                    </a:lnTo>
                    <a:lnTo>
                      <a:pt x="67" y="112"/>
                    </a:lnTo>
                    <a:lnTo>
                      <a:pt x="50" y="96"/>
                    </a:lnTo>
                    <a:lnTo>
                      <a:pt x="25" y="104"/>
                    </a:lnTo>
                    <a:lnTo>
                      <a:pt x="0" y="8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21">
                <a:extLst>
                  <a:ext uri="{FF2B5EF4-FFF2-40B4-BE49-F238E27FC236}">
                    <a16:creationId xmlns:a16="http://schemas.microsoft.com/office/drawing/2014/main" id="{27F9E124-F603-1426-D1A3-3D884F593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4236" y="3415507"/>
                <a:ext cx="152171" cy="245707"/>
              </a:xfrm>
              <a:custGeom>
                <a:avLst/>
                <a:gdLst>
                  <a:gd name="T0" fmla="*/ 0 w 109"/>
                  <a:gd name="T1" fmla="*/ 168 h 176"/>
                  <a:gd name="T2" fmla="*/ 50 w 109"/>
                  <a:gd name="T3" fmla="*/ 176 h 176"/>
                  <a:gd name="T4" fmla="*/ 76 w 109"/>
                  <a:gd name="T5" fmla="*/ 144 h 176"/>
                  <a:gd name="T6" fmla="*/ 76 w 109"/>
                  <a:gd name="T7" fmla="*/ 112 h 176"/>
                  <a:gd name="T8" fmla="*/ 109 w 109"/>
                  <a:gd name="T9" fmla="*/ 96 h 176"/>
                  <a:gd name="T10" fmla="*/ 92 w 109"/>
                  <a:gd name="T11" fmla="*/ 72 h 176"/>
                  <a:gd name="T12" fmla="*/ 109 w 109"/>
                  <a:gd name="T13" fmla="*/ 64 h 176"/>
                  <a:gd name="T14" fmla="*/ 101 w 109"/>
                  <a:gd name="T15" fmla="*/ 8 h 176"/>
                  <a:gd name="T16" fmla="*/ 84 w 109"/>
                  <a:gd name="T17" fmla="*/ 0 h 176"/>
                  <a:gd name="T18" fmla="*/ 67 w 109"/>
                  <a:gd name="T19" fmla="*/ 16 h 176"/>
                  <a:gd name="T20" fmla="*/ 59 w 109"/>
                  <a:gd name="T21" fmla="*/ 48 h 176"/>
                  <a:gd name="T22" fmla="*/ 42 w 109"/>
                  <a:gd name="T23" fmla="*/ 16 h 176"/>
                  <a:gd name="T24" fmla="*/ 8 w 109"/>
                  <a:gd name="T25" fmla="*/ 40 h 176"/>
                  <a:gd name="T26" fmla="*/ 0 w 109"/>
                  <a:gd name="T27" fmla="*/ 48 h 176"/>
                  <a:gd name="T28" fmla="*/ 8 w 109"/>
                  <a:gd name="T29" fmla="*/ 72 h 176"/>
                  <a:gd name="T30" fmla="*/ 42 w 109"/>
                  <a:gd name="T31" fmla="*/ 88 h 176"/>
                  <a:gd name="T32" fmla="*/ 50 w 109"/>
                  <a:gd name="T33" fmla="*/ 112 h 176"/>
                  <a:gd name="T34" fmla="*/ 33 w 109"/>
                  <a:gd name="T35" fmla="*/ 144 h 176"/>
                  <a:gd name="T36" fmla="*/ 8 w 109"/>
                  <a:gd name="T37" fmla="*/ 136 h 176"/>
                  <a:gd name="T38" fmla="*/ 0 w 109"/>
                  <a:gd name="T39" fmla="*/ 168 h 17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9" h="176">
                    <a:moveTo>
                      <a:pt x="0" y="168"/>
                    </a:moveTo>
                    <a:lnTo>
                      <a:pt x="50" y="176"/>
                    </a:lnTo>
                    <a:lnTo>
                      <a:pt x="76" y="144"/>
                    </a:lnTo>
                    <a:lnTo>
                      <a:pt x="76" y="112"/>
                    </a:lnTo>
                    <a:lnTo>
                      <a:pt x="109" y="96"/>
                    </a:lnTo>
                    <a:lnTo>
                      <a:pt x="92" y="72"/>
                    </a:lnTo>
                    <a:lnTo>
                      <a:pt x="109" y="64"/>
                    </a:lnTo>
                    <a:lnTo>
                      <a:pt x="101" y="8"/>
                    </a:lnTo>
                    <a:lnTo>
                      <a:pt x="84" y="0"/>
                    </a:lnTo>
                    <a:lnTo>
                      <a:pt x="67" y="16"/>
                    </a:lnTo>
                    <a:lnTo>
                      <a:pt x="59" y="48"/>
                    </a:lnTo>
                    <a:lnTo>
                      <a:pt x="42" y="16"/>
                    </a:lnTo>
                    <a:lnTo>
                      <a:pt x="8" y="40"/>
                    </a:lnTo>
                    <a:lnTo>
                      <a:pt x="0" y="48"/>
                    </a:lnTo>
                    <a:lnTo>
                      <a:pt x="8" y="72"/>
                    </a:lnTo>
                    <a:lnTo>
                      <a:pt x="42" y="88"/>
                    </a:lnTo>
                    <a:lnTo>
                      <a:pt x="50" y="112"/>
                    </a:lnTo>
                    <a:lnTo>
                      <a:pt x="33" y="144"/>
                    </a:lnTo>
                    <a:lnTo>
                      <a:pt x="8" y="136"/>
                    </a:lnTo>
                    <a:lnTo>
                      <a:pt x="0" y="16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22">
                <a:extLst>
                  <a:ext uri="{FF2B5EF4-FFF2-40B4-BE49-F238E27FC236}">
                    <a16:creationId xmlns:a16="http://schemas.microsoft.com/office/drawing/2014/main" id="{B17254FA-1E46-651E-3382-DAB30B857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5073" y="6386332"/>
                <a:ext cx="457909" cy="290381"/>
              </a:xfrm>
              <a:custGeom>
                <a:avLst/>
                <a:gdLst>
                  <a:gd name="T0" fmla="*/ 0 w 328"/>
                  <a:gd name="T1" fmla="*/ 80 h 208"/>
                  <a:gd name="T2" fmla="*/ 0 w 328"/>
                  <a:gd name="T3" fmla="*/ 56 h 208"/>
                  <a:gd name="T4" fmla="*/ 25 w 328"/>
                  <a:gd name="T5" fmla="*/ 32 h 208"/>
                  <a:gd name="T6" fmla="*/ 50 w 328"/>
                  <a:gd name="T7" fmla="*/ 48 h 208"/>
                  <a:gd name="T8" fmla="*/ 67 w 328"/>
                  <a:gd name="T9" fmla="*/ 32 h 208"/>
                  <a:gd name="T10" fmla="*/ 92 w 328"/>
                  <a:gd name="T11" fmla="*/ 24 h 208"/>
                  <a:gd name="T12" fmla="*/ 101 w 328"/>
                  <a:gd name="T13" fmla="*/ 32 h 208"/>
                  <a:gd name="T14" fmla="*/ 117 w 328"/>
                  <a:gd name="T15" fmla="*/ 40 h 208"/>
                  <a:gd name="T16" fmla="*/ 134 w 328"/>
                  <a:gd name="T17" fmla="*/ 48 h 208"/>
                  <a:gd name="T18" fmla="*/ 160 w 328"/>
                  <a:gd name="T19" fmla="*/ 40 h 208"/>
                  <a:gd name="T20" fmla="*/ 210 w 328"/>
                  <a:gd name="T21" fmla="*/ 40 h 208"/>
                  <a:gd name="T22" fmla="*/ 235 w 328"/>
                  <a:gd name="T23" fmla="*/ 32 h 208"/>
                  <a:gd name="T24" fmla="*/ 252 w 328"/>
                  <a:gd name="T25" fmla="*/ 16 h 208"/>
                  <a:gd name="T26" fmla="*/ 261 w 328"/>
                  <a:gd name="T27" fmla="*/ 16 h 208"/>
                  <a:gd name="T28" fmla="*/ 286 w 328"/>
                  <a:gd name="T29" fmla="*/ 24 h 208"/>
                  <a:gd name="T30" fmla="*/ 294 w 328"/>
                  <a:gd name="T31" fmla="*/ 8 h 208"/>
                  <a:gd name="T32" fmla="*/ 320 w 328"/>
                  <a:gd name="T33" fmla="*/ 0 h 208"/>
                  <a:gd name="T34" fmla="*/ 328 w 328"/>
                  <a:gd name="T35" fmla="*/ 16 h 208"/>
                  <a:gd name="T36" fmla="*/ 311 w 328"/>
                  <a:gd name="T37" fmla="*/ 56 h 208"/>
                  <a:gd name="T38" fmla="*/ 303 w 328"/>
                  <a:gd name="T39" fmla="*/ 80 h 208"/>
                  <a:gd name="T40" fmla="*/ 286 w 328"/>
                  <a:gd name="T41" fmla="*/ 104 h 208"/>
                  <a:gd name="T42" fmla="*/ 286 w 328"/>
                  <a:gd name="T43" fmla="*/ 112 h 208"/>
                  <a:gd name="T44" fmla="*/ 303 w 328"/>
                  <a:gd name="T45" fmla="*/ 128 h 208"/>
                  <a:gd name="T46" fmla="*/ 320 w 328"/>
                  <a:gd name="T47" fmla="*/ 160 h 208"/>
                  <a:gd name="T48" fmla="*/ 303 w 328"/>
                  <a:gd name="T49" fmla="*/ 176 h 208"/>
                  <a:gd name="T50" fmla="*/ 303 w 328"/>
                  <a:gd name="T51" fmla="*/ 208 h 208"/>
                  <a:gd name="T52" fmla="*/ 269 w 328"/>
                  <a:gd name="T53" fmla="*/ 200 h 208"/>
                  <a:gd name="T54" fmla="*/ 227 w 328"/>
                  <a:gd name="T55" fmla="*/ 192 h 208"/>
                  <a:gd name="T56" fmla="*/ 202 w 328"/>
                  <a:gd name="T57" fmla="*/ 152 h 208"/>
                  <a:gd name="T58" fmla="*/ 168 w 328"/>
                  <a:gd name="T59" fmla="*/ 160 h 208"/>
                  <a:gd name="T60" fmla="*/ 143 w 328"/>
                  <a:gd name="T61" fmla="*/ 144 h 208"/>
                  <a:gd name="T62" fmla="*/ 126 w 328"/>
                  <a:gd name="T63" fmla="*/ 128 h 208"/>
                  <a:gd name="T64" fmla="*/ 109 w 328"/>
                  <a:gd name="T65" fmla="*/ 128 h 208"/>
                  <a:gd name="T66" fmla="*/ 84 w 328"/>
                  <a:gd name="T67" fmla="*/ 112 h 208"/>
                  <a:gd name="T68" fmla="*/ 67 w 328"/>
                  <a:gd name="T69" fmla="*/ 112 h 208"/>
                  <a:gd name="T70" fmla="*/ 50 w 328"/>
                  <a:gd name="T71" fmla="*/ 96 h 208"/>
                  <a:gd name="T72" fmla="*/ 25 w 328"/>
                  <a:gd name="T73" fmla="*/ 104 h 208"/>
                  <a:gd name="T74" fmla="*/ 0 w 328"/>
                  <a:gd name="T75" fmla="*/ 80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28" h="208">
                    <a:moveTo>
                      <a:pt x="0" y="80"/>
                    </a:moveTo>
                    <a:lnTo>
                      <a:pt x="0" y="56"/>
                    </a:lnTo>
                    <a:lnTo>
                      <a:pt x="25" y="32"/>
                    </a:lnTo>
                    <a:lnTo>
                      <a:pt x="50" y="48"/>
                    </a:lnTo>
                    <a:lnTo>
                      <a:pt x="67" y="32"/>
                    </a:lnTo>
                    <a:lnTo>
                      <a:pt x="92" y="24"/>
                    </a:lnTo>
                    <a:lnTo>
                      <a:pt x="101" y="32"/>
                    </a:lnTo>
                    <a:lnTo>
                      <a:pt x="117" y="40"/>
                    </a:lnTo>
                    <a:lnTo>
                      <a:pt x="134" y="48"/>
                    </a:lnTo>
                    <a:lnTo>
                      <a:pt x="160" y="40"/>
                    </a:lnTo>
                    <a:lnTo>
                      <a:pt x="210" y="40"/>
                    </a:lnTo>
                    <a:lnTo>
                      <a:pt x="235" y="32"/>
                    </a:lnTo>
                    <a:lnTo>
                      <a:pt x="252" y="16"/>
                    </a:lnTo>
                    <a:lnTo>
                      <a:pt x="261" y="16"/>
                    </a:lnTo>
                    <a:lnTo>
                      <a:pt x="286" y="24"/>
                    </a:lnTo>
                    <a:lnTo>
                      <a:pt x="294" y="8"/>
                    </a:lnTo>
                    <a:lnTo>
                      <a:pt x="320" y="0"/>
                    </a:lnTo>
                    <a:lnTo>
                      <a:pt x="328" y="16"/>
                    </a:lnTo>
                    <a:lnTo>
                      <a:pt x="311" y="56"/>
                    </a:lnTo>
                    <a:lnTo>
                      <a:pt x="303" y="80"/>
                    </a:lnTo>
                    <a:lnTo>
                      <a:pt x="286" y="104"/>
                    </a:lnTo>
                    <a:lnTo>
                      <a:pt x="286" y="112"/>
                    </a:lnTo>
                    <a:lnTo>
                      <a:pt x="303" y="128"/>
                    </a:lnTo>
                    <a:lnTo>
                      <a:pt x="320" y="160"/>
                    </a:lnTo>
                    <a:lnTo>
                      <a:pt x="303" y="176"/>
                    </a:lnTo>
                    <a:lnTo>
                      <a:pt x="303" y="208"/>
                    </a:lnTo>
                    <a:lnTo>
                      <a:pt x="269" y="200"/>
                    </a:lnTo>
                    <a:lnTo>
                      <a:pt x="227" y="192"/>
                    </a:lnTo>
                    <a:lnTo>
                      <a:pt x="202" y="152"/>
                    </a:lnTo>
                    <a:lnTo>
                      <a:pt x="168" y="160"/>
                    </a:lnTo>
                    <a:lnTo>
                      <a:pt x="143" y="144"/>
                    </a:lnTo>
                    <a:lnTo>
                      <a:pt x="126" y="128"/>
                    </a:lnTo>
                    <a:lnTo>
                      <a:pt x="109" y="128"/>
                    </a:lnTo>
                    <a:lnTo>
                      <a:pt x="84" y="112"/>
                    </a:lnTo>
                    <a:lnTo>
                      <a:pt x="67" y="112"/>
                    </a:lnTo>
                    <a:lnTo>
                      <a:pt x="50" y="96"/>
                    </a:lnTo>
                    <a:lnTo>
                      <a:pt x="25" y="104"/>
                    </a:lnTo>
                    <a:lnTo>
                      <a:pt x="0" y="8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23">
                <a:extLst>
                  <a:ext uri="{FF2B5EF4-FFF2-40B4-BE49-F238E27FC236}">
                    <a16:creationId xmlns:a16="http://schemas.microsoft.com/office/drawing/2014/main" id="{A0519C89-BED8-CC26-50D1-8314797B6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45965" y="6598534"/>
                <a:ext cx="434177" cy="100517"/>
              </a:xfrm>
              <a:custGeom>
                <a:avLst/>
                <a:gdLst>
                  <a:gd name="T0" fmla="*/ 0 w 311"/>
                  <a:gd name="T1" fmla="*/ 24 h 72"/>
                  <a:gd name="T2" fmla="*/ 8 w 311"/>
                  <a:gd name="T3" fmla="*/ 56 h 72"/>
                  <a:gd name="T4" fmla="*/ 33 w 311"/>
                  <a:gd name="T5" fmla="*/ 64 h 72"/>
                  <a:gd name="T6" fmla="*/ 67 w 311"/>
                  <a:gd name="T7" fmla="*/ 64 h 72"/>
                  <a:gd name="T8" fmla="*/ 126 w 311"/>
                  <a:gd name="T9" fmla="*/ 56 h 72"/>
                  <a:gd name="T10" fmla="*/ 143 w 311"/>
                  <a:gd name="T11" fmla="*/ 56 h 72"/>
                  <a:gd name="T12" fmla="*/ 143 w 311"/>
                  <a:gd name="T13" fmla="*/ 72 h 72"/>
                  <a:gd name="T14" fmla="*/ 193 w 311"/>
                  <a:gd name="T15" fmla="*/ 72 h 72"/>
                  <a:gd name="T16" fmla="*/ 219 w 311"/>
                  <a:gd name="T17" fmla="*/ 56 h 72"/>
                  <a:gd name="T18" fmla="*/ 252 w 311"/>
                  <a:gd name="T19" fmla="*/ 56 h 72"/>
                  <a:gd name="T20" fmla="*/ 278 w 311"/>
                  <a:gd name="T21" fmla="*/ 40 h 72"/>
                  <a:gd name="T22" fmla="*/ 311 w 311"/>
                  <a:gd name="T23" fmla="*/ 32 h 72"/>
                  <a:gd name="T24" fmla="*/ 311 w 311"/>
                  <a:gd name="T25" fmla="*/ 0 h 72"/>
                  <a:gd name="T26" fmla="*/ 286 w 311"/>
                  <a:gd name="T27" fmla="*/ 16 h 72"/>
                  <a:gd name="T28" fmla="*/ 269 w 311"/>
                  <a:gd name="T29" fmla="*/ 24 h 72"/>
                  <a:gd name="T30" fmla="*/ 252 w 311"/>
                  <a:gd name="T31" fmla="*/ 24 h 72"/>
                  <a:gd name="T32" fmla="*/ 244 w 311"/>
                  <a:gd name="T33" fmla="*/ 8 h 72"/>
                  <a:gd name="T34" fmla="*/ 219 w 311"/>
                  <a:gd name="T35" fmla="*/ 16 h 72"/>
                  <a:gd name="T36" fmla="*/ 168 w 311"/>
                  <a:gd name="T37" fmla="*/ 24 h 72"/>
                  <a:gd name="T38" fmla="*/ 168 w 311"/>
                  <a:gd name="T39" fmla="*/ 8 h 72"/>
                  <a:gd name="T40" fmla="*/ 84 w 311"/>
                  <a:gd name="T41" fmla="*/ 40 h 72"/>
                  <a:gd name="T42" fmla="*/ 75 w 311"/>
                  <a:gd name="T43" fmla="*/ 16 h 72"/>
                  <a:gd name="T44" fmla="*/ 59 w 311"/>
                  <a:gd name="T45" fmla="*/ 8 h 72"/>
                  <a:gd name="T46" fmla="*/ 59 w 311"/>
                  <a:gd name="T47" fmla="*/ 24 h 72"/>
                  <a:gd name="T48" fmla="*/ 33 w 311"/>
                  <a:gd name="T49" fmla="*/ 24 h 72"/>
                  <a:gd name="T50" fmla="*/ 16 w 311"/>
                  <a:gd name="T51" fmla="*/ 0 h 72"/>
                  <a:gd name="T52" fmla="*/ 16 w 311"/>
                  <a:gd name="T53" fmla="*/ 16 h 72"/>
                  <a:gd name="T54" fmla="*/ 0 w 311"/>
                  <a:gd name="T55" fmla="*/ 24 h 7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311" h="72">
                    <a:moveTo>
                      <a:pt x="0" y="24"/>
                    </a:moveTo>
                    <a:lnTo>
                      <a:pt x="8" y="56"/>
                    </a:lnTo>
                    <a:lnTo>
                      <a:pt x="33" y="64"/>
                    </a:lnTo>
                    <a:lnTo>
                      <a:pt x="67" y="64"/>
                    </a:lnTo>
                    <a:lnTo>
                      <a:pt x="126" y="56"/>
                    </a:lnTo>
                    <a:lnTo>
                      <a:pt x="143" y="56"/>
                    </a:lnTo>
                    <a:lnTo>
                      <a:pt x="143" y="72"/>
                    </a:lnTo>
                    <a:lnTo>
                      <a:pt x="193" y="72"/>
                    </a:lnTo>
                    <a:lnTo>
                      <a:pt x="219" y="56"/>
                    </a:lnTo>
                    <a:lnTo>
                      <a:pt x="252" y="56"/>
                    </a:lnTo>
                    <a:lnTo>
                      <a:pt x="278" y="40"/>
                    </a:lnTo>
                    <a:lnTo>
                      <a:pt x="311" y="32"/>
                    </a:lnTo>
                    <a:lnTo>
                      <a:pt x="311" y="0"/>
                    </a:lnTo>
                    <a:lnTo>
                      <a:pt x="286" y="16"/>
                    </a:lnTo>
                    <a:lnTo>
                      <a:pt x="269" y="24"/>
                    </a:lnTo>
                    <a:lnTo>
                      <a:pt x="252" y="24"/>
                    </a:lnTo>
                    <a:lnTo>
                      <a:pt x="244" y="8"/>
                    </a:lnTo>
                    <a:lnTo>
                      <a:pt x="219" y="16"/>
                    </a:lnTo>
                    <a:lnTo>
                      <a:pt x="168" y="24"/>
                    </a:lnTo>
                    <a:lnTo>
                      <a:pt x="168" y="8"/>
                    </a:lnTo>
                    <a:lnTo>
                      <a:pt x="84" y="40"/>
                    </a:lnTo>
                    <a:lnTo>
                      <a:pt x="75" y="16"/>
                    </a:lnTo>
                    <a:lnTo>
                      <a:pt x="59" y="8"/>
                    </a:lnTo>
                    <a:lnTo>
                      <a:pt x="59" y="24"/>
                    </a:lnTo>
                    <a:lnTo>
                      <a:pt x="33" y="24"/>
                    </a:lnTo>
                    <a:lnTo>
                      <a:pt x="16" y="0"/>
                    </a:lnTo>
                    <a:lnTo>
                      <a:pt x="16" y="1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24">
                <a:extLst>
                  <a:ext uri="{FF2B5EF4-FFF2-40B4-BE49-F238E27FC236}">
                    <a16:creationId xmlns:a16="http://schemas.microsoft.com/office/drawing/2014/main" id="{BCE4D3DF-7877-3784-9680-39B8BC0AF0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9863" y="5917254"/>
                <a:ext cx="234539" cy="402067"/>
              </a:xfrm>
              <a:custGeom>
                <a:avLst/>
                <a:gdLst>
                  <a:gd name="T0" fmla="*/ 0 w 168"/>
                  <a:gd name="T1" fmla="*/ 40 h 288"/>
                  <a:gd name="T2" fmla="*/ 33 w 168"/>
                  <a:gd name="T3" fmla="*/ 48 h 288"/>
                  <a:gd name="T4" fmla="*/ 59 w 168"/>
                  <a:gd name="T5" fmla="*/ 40 h 288"/>
                  <a:gd name="T6" fmla="*/ 101 w 168"/>
                  <a:gd name="T7" fmla="*/ 8 h 288"/>
                  <a:gd name="T8" fmla="*/ 109 w 168"/>
                  <a:gd name="T9" fmla="*/ 0 h 288"/>
                  <a:gd name="T10" fmla="*/ 143 w 168"/>
                  <a:gd name="T11" fmla="*/ 16 h 288"/>
                  <a:gd name="T12" fmla="*/ 143 w 168"/>
                  <a:gd name="T13" fmla="*/ 32 h 288"/>
                  <a:gd name="T14" fmla="*/ 168 w 168"/>
                  <a:gd name="T15" fmla="*/ 96 h 288"/>
                  <a:gd name="T16" fmla="*/ 151 w 168"/>
                  <a:gd name="T17" fmla="*/ 120 h 288"/>
                  <a:gd name="T18" fmla="*/ 168 w 168"/>
                  <a:gd name="T19" fmla="*/ 152 h 288"/>
                  <a:gd name="T20" fmla="*/ 143 w 168"/>
                  <a:gd name="T21" fmla="*/ 256 h 288"/>
                  <a:gd name="T22" fmla="*/ 117 w 168"/>
                  <a:gd name="T23" fmla="*/ 248 h 288"/>
                  <a:gd name="T24" fmla="*/ 92 w 168"/>
                  <a:gd name="T25" fmla="*/ 248 h 288"/>
                  <a:gd name="T26" fmla="*/ 84 w 168"/>
                  <a:gd name="T27" fmla="*/ 264 h 288"/>
                  <a:gd name="T28" fmla="*/ 67 w 168"/>
                  <a:gd name="T29" fmla="*/ 280 h 288"/>
                  <a:gd name="T30" fmla="*/ 42 w 168"/>
                  <a:gd name="T31" fmla="*/ 288 h 288"/>
                  <a:gd name="T32" fmla="*/ 25 w 168"/>
                  <a:gd name="T33" fmla="*/ 248 h 288"/>
                  <a:gd name="T34" fmla="*/ 25 w 168"/>
                  <a:gd name="T35" fmla="*/ 200 h 288"/>
                  <a:gd name="T36" fmla="*/ 33 w 168"/>
                  <a:gd name="T37" fmla="*/ 176 h 288"/>
                  <a:gd name="T38" fmla="*/ 25 w 168"/>
                  <a:gd name="T39" fmla="*/ 160 h 288"/>
                  <a:gd name="T40" fmla="*/ 33 w 168"/>
                  <a:gd name="T41" fmla="*/ 136 h 288"/>
                  <a:gd name="T42" fmla="*/ 33 w 168"/>
                  <a:gd name="T43" fmla="*/ 112 h 288"/>
                  <a:gd name="T44" fmla="*/ 25 w 168"/>
                  <a:gd name="T45" fmla="*/ 80 h 288"/>
                  <a:gd name="T46" fmla="*/ 0 w 168"/>
                  <a:gd name="T47" fmla="*/ 72 h 288"/>
                  <a:gd name="T48" fmla="*/ 0 w 168"/>
                  <a:gd name="T49" fmla="*/ 40 h 28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68" h="288">
                    <a:moveTo>
                      <a:pt x="0" y="40"/>
                    </a:moveTo>
                    <a:lnTo>
                      <a:pt x="33" y="48"/>
                    </a:lnTo>
                    <a:lnTo>
                      <a:pt x="59" y="40"/>
                    </a:lnTo>
                    <a:lnTo>
                      <a:pt x="101" y="8"/>
                    </a:lnTo>
                    <a:lnTo>
                      <a:pt x="109" y="0"/>
                    </a:lnTo>
                    <a:lnTo>
                      <a:pt x="143" y="16"/>
                    </a:lnTo>
                    <a:lnTo>
                      <a:pt x="143" y="32"/>
                    </a:lnTo>
                    <a:lnTo>
                      <a:pt x="168" y="96"/>
                    </a:lnTo>
                    <a:lnTo>
                      <a:pt x="151" y="120"/>
                    </a:lnTo>
                    <a:lnTo>
                      <a:pt x="168" y="152"/>
                    </a:lnTo>
                    <a:lnTo>
                      <a:pt x="143" y="256"/>
                    </a:lnTo>
                    <a:lnTo>
                      <a:pt x="117" y="248"/>
                    </a:lnTo>
                    <a:lnTo>
                      <a:pt x="92" y="248"/>
                    </a:lnTo>
                    <a:lnTo>
                      <a:pt x="84" y="264"/>
                    </a:lnTo>
                    <a:lnTo>
                      <a:pt x="67" y="280"/>
                    </a:lnTo>
                    <a:lnTo>
                      <a:pt x="42" y="288"/>
                    </a:lnTo>
                    <a:lnTo>
                      <a:pt x="25" y="248"/>
                    </a:lnTo>
                    <a:lnTo>
                      <a:pt x="25" y="200"/>
                    </a:lnTo>
                    <a:lnTo>
                      <a:pt x="33" y="176"/>
                    </a:lnTo>
                    <a:lnTo>
                      <a:pt x="25" y="160"/>
                    </a:lnTo>
                    <a:lnTo>
                      <a:pt x="33" y="136"/>
                    </a:lnTo>
                    <a:lnTo>
                      <a:pt x="33" y="112"/>
                    </a:lnTo>
                    <a:lnTo>
                      <a:pt x="25" y="80"/>
                    </a:lnTo>
                    <a:lnTo>
                      <a:pt x="0" y="72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26">
                <a:extLst>
                  <a:ext uri="{FF2B5EF4-FFF2-40B4-BE49-F238E27FC236}">
                    <a16:creationId xmlns:a16="http://schemas.microsoft.com/office/drawing/2014/main" id="{9B8D21E5-86AF-6F5D-BC22-F1AD8261E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9863" y="5917254"/>
                <a:ext cx="234539" cy="402067"/>
              </a:xfrm>
              <a:custGeom>
                <a:avLst/>
                <a:gdLst>
                  <a:gd name="T0" fmla="*/ 0 w 168"/>
                  <a:gd name="T1" fmla="*/ 40 h 288"/>
                  <a:gd name="T2" fmla="*/ 33 w 168"/>
                  <a:gd name="T3" fmla="*/ 48 h 288"/>
                  <a:gd name="T4" fmla="*/ 59 w 168"/>
                  <a:gd name="T5" fmla="*/ 40 h 288"/>
                  <a:gd name="T6" fmla="*/ 101 w 168"/>
                  <a:gd name="T7" fmla="*/ 8 h 288"/>
                  <a:gd name="T8" fmla="*/ 109 w 168"/>
                  <a:gd name="T9" fmla="*/ 0 h 288"/>
                  <a:gd name="T10" fmla="*/ 143 w 168"/>
                  <a:gd name="T11" fmla="*/ 16 h 288"/>
                  <a:gd name="T12" fmla="*/ 143 w 168"/>
                  <a:gd name="T13" fmla="*/ 32 h 288"/>
                  <a:gd name="T14" fmla="*/ 168 w 168"/>
                  <a:gd name="T15" fmla="*/ 96 h 288"/>
                  <a:gd name="T16" fmla="*/ 151 w 168"/>
                  <a:gd name="T17" fmla="*/ 120 h 288"/>
                  <a:gd name="T18" fmla="*/ 168 w 168"/>
                  <a:gd name="T19" fmla="*/ 152 h 288"/>
                  <a:gd name="T20" fmla="*/ 143 w 168"/>
                  <a:gd name="T21" fmla="*/ 256 h 288"/>
                  <a:gd name="T22" fmla="*/ 117 w 168"/>
                  <a:gd name="T23" fmla="*/ 248 h 288"/>
                  <a:gd name="T24" fmla="*/ 92 w 168"/>
                  <a:gd name="T25" fmla="*/ 248 h 288"/>
                  <a:gd name="T26" fmla="*/ 84 w 168"/>
                  <a:gd name="T27" fmla="*/ 264 h 288"/>
                  <a:gd name="T28" fmla="*/ 67 w 168"/>
                  <a:gd name="T29" fmla="*/ 280 h 288"/>
                  <a:gd name="T30" fmla="*/ 42 w 168"/>
                  <a:gd name="T31" fmla="*/ 288 h 288"/>
                  <a:gd name="T32" fmla="*/ 25 w 168"/>
                  <a:gd name="T33" fmla="*/ 248 h 288"/>
                  <a:gd name="T34" fmla="*/ 25 w 168"/>
                  <a:gd name="T35" fmla="*/ 200 h 288"/>
                  <a:gd name="T36" fmla="*/ 33 w 168"/>
                  <a:gd name="T37" fmla="*/ 176 h 288"/>
                  <a:gd name="T38" fmla="*/ 25 w 168"/>
                  <a:gd name="T39" fmla="*/ 160 h 288"/>
                  <a:gd name="T40" fmla="*/ 33 w 168"/>
                  <a:gd name="T41" fmla="*/ 136 h 288"/>
                  <a:gd name="T42" fmla="*/ 33 w 168"/>
                  <a:gd name="T43" fmla="*/ 112 h 288"/>
                  <a:gd name="T44" fmla="*/ 25 w 168"/>
                  <a:gd name="T45" fmla="*/ 80 h 288"/>
                  <a:gd name="T46" fmla="*/ 0 w 168"/>
                  <a:gd name="T47" fmla="*/ 72 h 288"/>
                  <a:gd name="T48" fmla="*/ 0 w 168"/>
                  <a:gd name="T49" fmla="*/ 40 h 28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68" h="288">
                    <a:moveTo>
                      <a:pt x="0" y="40"/>
                    </a:moveTo>
                    <a:lnTo>
                      <a:pt x="33" y="48"/>
                    </a:lnTo>
                    <a:lnTo>
                      <a:pt x="59" y="40"/>
                    </a:lnTo>
                    <a:lnTo>
                      <a:pt x="101" y="8"/>
                    </a:lnTo>
                    <a:lnTo>
                      <a:pt x="109" y="0"/>
                    </a:lnTo>
                    <a:lnTo>
                      <a:pt x="143" y="16"/>
                    </a:lnTo>
                    <a:lnTo>
                      <a:pt x="143" y="32"/>
                    </a:lnTo>
                    <a:lnTo>
                      <a:pt x="168" y="96"/>
                    </a:lnTo>
                    <a:lnTo>
                      <a:pt x="151" y="120"/>
                    </a:lnTo>
                    <a:lnTo>
                      <a:pt x="168" y="152"/>
                    </a:lnTo>
                    <a:lnTo>
                      <a:pt x="143" y="256"/>
                    </a:lnTo>
                    <a:lnTo>
                      <a:pt x="117" y="248"/>
                    </a:lnTo>
                    <a:lnTo>
                      <a:pt x="92" y="248"/>
                    </a:lnTo>
                    <a:lnTo>
                      <a:pt x="84" y="264"/>
                    </a:lnTo>
                    <a:lnTo>
                      <a:pt x="67" y="280"/>
                    </a:lnTo>
                    <a:lnTo>
                      <a:pt x="42" y="288"/>
                    </a:lnTo>
                    <a:lnTo>
                      <a:pt x="25" y="248"/>
                    </a:lnTo>
                    <a:lnTo>
                      <a:pt x="25" y="200"/>
                    </a:lnTo>
                    <a:lnTo>
                      <a:pt x="33" y="176"/>
                    </a:lnTo>
                    <a:lnTo>
                      <a:pt x="25" y="160"/>
                    </a:lnTo>
                    <a:lnTo>
                      <a:pt x="33" y="136"/>
                    </a:lnTo>
                    <a:lnTo>
                      <a:pt x="33" y="112"/>
                    </a:lnTo>
                    <a:lnTo>
                      <a:pt x="25" y="80"/>
                    </a:lnTo>
                    <a:lnTo>
                      <a:pt x="0" y="72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27">
                <a:extLst>
                  <a:ext uri="{FF2B5EF4-FFF2-40B4-BE49-F238E27FC236}">
                    <a16:creationId xmlns:a16="http://schemas.microsoft.com/office/drawing/2014/main" id="{511AC59E-BDD2-3D11-2607-B2E8F1173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8498" y="5615704"/>
                <a:ext cx="141002" cy="268045"/>
              </a:xfrm>
              <a:custGeom>
                <a:avLst/>
                <a:gdLst>
                  <a:gd name="T0" fmla="*/ 75 w 101"/>
                  <a:gd name="T1" fmla="*/ 32 h 192"/>
                  <a:gd name="T2" fmla="*/ 75 w 101"/>
                  <a:gd name="T3" fmla="*/ 0 h 192"/>
                  <a:gd name="T4" fmla="*/ 92 w 101"/>
                  <a:gd name="T5" fmla="*/ 0 h 192"/>
                  <a:gd name="T6" fmla="*/ 92 w 101"/>
                  <a:gd name="T7" fmla="*/ 40 h 192"/>
                  <a:gd name="T8" fmla="*/ 101 w 101"/>
                  <a:gd name="T9" fmla="*/ 56 h 192"/>
                  <a:gd name="T10" fmla="*/ 101 w 101"/>
                  <a:gd name="T11" fmla="*/ 104 h 192"/>
                  <a:gd name="T12" fmla="*/ 92 w 101"/>
                  <a:gd name="T13" fmla="*/ 120 h 192"/>
                  <a:gd name="T14" fmla="*/ 92 w 101"/>
                  <a:gd name="T15" fmla="*/ 152 h 192"/>
                  <a:gd name="T16" fmla="*/ 67 w 101"/>
                  <a:gd name="T17" fmla="*/ 192 h 192"/>
                  <a:gd name="T18" fmla="*/ 50 w 101"/>
                  <a:gd name="T19" fmla="*/ 192 h 192"/>
                  <a:gd name="T20" fmla="*/ 25 w 101"/>
                  <a:gd name="T21" fmla="*/ 176 h 192"/>
                  <a:gd name="T22" fmla="*/ 33 w 101"/>
                  <a:gd name="T23" fmla="*/ 160 h 192"/>
                  <a:gd name="T24" fmla="*/ 17 w 101"/>
                  <a:gd name="T25" fmla="*/ 152 h 192"/>
                  <a:gd name="T26" fmla="*/ 33 w 101"/>
                  <a:gd name="T27" fmla="*/ 136 h 192"/>
                  <a:gd name="T28" fmla="*/ 8 w 101"/>
                  <a:gd name="T29" fmla="*/ 128 h 192"/>
                  <a:gd name="T30" fmla="*/ 25 w 101"/>
                  <a:gd name="T31" fmla="*/ 112 h 192"/>
                  <a:gd name="T32" fmla="*/ 8 w 101"/>
                  <a:gd name="T33" fmla="*/ 96 h 192"/>
                  <a:gd name="T34" fmla="*/ 0 w 101"/>
                  <a:gd name="T35" fmla="*/ 72 h 192"/>
                  <a:gd name="T36" fmla="*/ 17 w 101"/>
                  <a:gd name="T37" fmla="*/ 64 h 192"/>
                  <a:gd name="T38" fmla="*/ 17 w 101"/>
                  <a:gd name="T39" fmla="*/ 48 h 192"/>
                  <a:gd name="T40" fmla="*/ 42 w 101"/>
                  <a:gd name="T41" fmla="*/ 40 h 192"/>
                  <a:gd name="T42" fmla="*/ 75 w 101"/>
                  <a:gd name="T43" fmla="*/ 32 h 19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01" h="192">
                    <a:moveTo>
                      <a:pt x="75" y="32"/>
                    </a:moveTo>
                    <a:lnTo>
                      <a:pt x="75" y="0"/>
                    </a:lnTo>
                    <a:lnTo>
                      <a:pt x="92" y="0"/>
                    </a:lnTo>
                    <a:lnTo>
                      <a:pt x="92" y="40"/>
                    </a:lnTo>
                    <a:lnTo>
                      <a:pt x="101" y="56"/>
                    </a:lnTo>
                    <a:lnTo>
                      <a:pt x="101" y="104"/>
                    </a:lnTo>
                    <a:lnTo>
                      <a:pt x="92" y="120"/>
                    </a:lnTo>
                    <a:lnTo>
                      <a:pt x="92" y="152"/>
                    </a:lnTo>
                    <a:lnTo>
                      <a:pt x="67" y="192"/>
                    </a:lnTo>
                    <a:lnTo>
                      <a:pt x="50" y="192"/>
                    </a:lnTo>
                    <a:lnTo>
                      <a:pt x="25" y="176"/>
                    </a:lnTo>
                    <a:lnTo>
                      <a:pt x="33" y="160"/>
                    </a:lnTo>
                    <a:lnTo>
                      <a:pt x="17" y="152"/>
                    </a:lnTo>
                    <a:lnTo>
                      <a:pt x="33" y="136"/>
                    </a:lnTo>
                    <a:lnTo>
                      <a:pt x="8" y="128"/>
                    </a:lnTo>
                    <a:lnTo>
                      <a:pt x="25" y="112"/>
                    </a:lnTo>
                    <a:lnTo>
                      <a:pt x="8" y="96"/>
                    </a:lnTo>
                    <a:lnTo>
                      <a:pt x="0" y="72"/>
                    </a:lnTo>
                    <a:lnTo>
                      <a:pt x="17" y="64"/>
                    </a:lnTo>
                    <a:lnTo>
                      <a:pt x="17" y="48"/>
                    </a:lnTo>
                    <a:lnTo>
                      <a:pt x="42" y="40"/>
                    </a:lnTo>
                    <a:lnTo>
                      <a:pt x="75" y="3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28">
                <a:extLst>
                  <a:ext uri="{FF2B5EF4-FFF2-40B4-BE49-F238E27FC236}">
                    <a16:creationId xmlns:a16="http://schemas.microsoft.com/office/drawing/2014/main" id="{F5243E09-3D15-8143-99FC-146A48D8E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8498" y="5615704"/>
                <a:ext cx="141002" cy="268045"/>
              </a:xfrm>
              <a:custGeom>
                <a:avLst/>
                <a:gdLst>
                  <a:gd name="T0" fmla="*/ 75 w 101"/>
                  <a:gd name="T1" fmla="*/ 32 h 192"/>
                  <a:gd name="T2" fmla="*/ 75 w 101"/>
                  <a:gd name="T3" fmla="*/ 0 h 192"/>
                  <a:gd name="T4" fmla="*/ 92 w 101"/>
                  <a:gd name="T5" fmla="*/ 0 h 192"/>
                  <a:gd name="T6" fmla="*/ 92 w 101"/>
                  <a:gd name="T7" fmla="*/ 40 h 192"/>
                  <a:gd name="T8" fmla="*/ 101 w 101"/>
                  <a:gd name="T9" fmla="*/ 56 h 192"/>
                  <a:gd name="T10" fmla="*/ 101 w 101"/>
                  <a:gd name="T11" fmla="*/ 104 h 192"/>
                  <a:gd name="T12" fmla="*/ 92 w 101"/>
                  <a:gd name="T13" fmla="*/ 120 h 192"/>
                  <a:gd name="T14" fmla="*/ 92 w 101"/>
                  <a:gd name="T15" fmla="*/ 152 h 192"/>
                  <a:gd name="T16" fmla="*/ 67 w 101"/>
                  <a:gd name="T17" fmla="*/ 192 h 192"/>
                  <a:gd name="T18" fmla="*/ 50 w 101"/>
                  <a:gd name="T19" fmla="*/ 192 h 192"/>
                  <a:gd name="T20" fmla="*/ 25 w 101"/>
                  <a:gd name="T21" fmla="*/ 176 h 192"/>
                  <a:gd name="T22" fmla="*/ 33 w 101"/>
                  <a:gd name="T23" fmla="*/ 160 h 192"/>
                  <a:gd name="T24" fmla="*/ 17 w 101"/>
                  <a:gd name="T25" fmla="*/ 152 h 192"/>
                  <a:gd name="T26" fmla="*/ 33 w 101"/>
                  <a:gd name="T27" fmla="*/ 136 h 192"/>
                  <a:gd name="T28" fmla="*/ 8 w 101"/>
                  <a:gd name="T29" fmla="*/ 128 h 192"/>
                  <a:gd name="T30" fmla="*/ 25 w 101"/>
                  <a:gd name="T31" fmla="*/ 112 h 192"/>
                  <a:gd name="T32" fmla="*/ 8 w 101"/>
                  <a:gd name="T33" fmla="*/ 96 h 192"/>
                  <a:gd name="T34" fmla="*/ 0 w 101"/>
                  <a:gd name="T35" fmla="*/ 72 h 192"/>
                  <a:gd name="T36" fmla="*/ 17 w 101"/>
                  <a:gd name="T37" fmla="*/ 64 h 192"/>
                  <a:gd name="T38" fmla="*/ 17 w 101"/>
                  <a:gd name="T39" fmla="*/ 48 h 192"/>
                  <a:gd name="T40" fmla="*/ 42 w 101"/>
                  <a:gd name="T41" fmla="*/ 40 h 192"/>
                  <a:gd name="T42" fmla="*/ 75 w 101"/>
                  <a:gd name="T43" fmla="*/ 32 h 19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01" h="192">
                    <a:moveTo>
                      <a:pt x="75" y="32"/>
                    </a:moveTo>
                    <a:lnTo>
                      <a:pt x="75" y="0"/>
                    </a:lnTo>
                    <a:lnTo>
                      <a:pt x="92" y="0"/>
                    </a:lnTo>
                    <a:lnTo>
                      <a:pt x="92" y="40"/>
                    </a:lnTo>
                    <a:lnTo>
                      <a:pt x="101" y="56"/>
                    </a:lnTo>
                    <a:lnTo>
                      <a:pt x="101" y="104"/>
                    </a:lnTo>
                    <a:lnTo>
                      <a:pt x="92" y="120"/>
                    </a:lnTo>
                    <a:lnTo>
                      <a:pt x="92" y="152"/>
                    </a:lnTo>
                    <a:lnTo>
                      <a:pt x="67" y="192"/>
                    </a:lnTo>
                    <a:lnTo>
                      <a:pt x="50" y="192"/>
                    </a:lnTo>
                    <a:lnTo>
                      <a:pt x="25" y="176"/>
                    </a:lnTo>
                    <a:lnTo>
                      <a:pt x="33" y="160"/>
                    </a:lnTo>
                    <a:lnTo>
                      <a:pt x="17" y="152"/>
                    </a:lnTo>
                    <a:lnTo>
                      <a:pt x="33" y="136"/>
                    </a:lnTo>
                    <a:lnTo>
                      <a:pt x="8" y="128"/>
                    </a:lnTo>
                    <a:lnTo>
                      <a:pt x="25" y="112"/>
                    </a:lnTo>
                    <a:lnTo>
                      <a:pt x="8" y="96"/>
                    </a:lnTo>
                    <a:lnTo>
                      <a:pt x="0" y="72"/>
                    </a:lnTo>
                    <a:lnTo>
                      <a:pt x="17" y="64"/>
                    </a:lnTo>
                    <a:lnTo>
                      <a:pt x="17" y="48"/>
                    </a:lnTo>
                    <a:lnTo>
                      <a:pt x="42" y="40"/>
                    </a:lnTo>
                    <a:lnTo>
                      <a:pt x="75" y="32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1">
                <a:extLst>
                  <a:ext uri="{FF2B5EF4-FFF2-40B4-BE49-F238E27FC236}">
                    <a16:creationId xmlns:a16="http://schemas.microsoft.com/office/drawing/2014/main" id="{25F3318D-935E-8E55-831D-5C309FFED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2563" y="4934424"/>
                <a:ext cx="1647356" cy="1507750"/>
              </a:xfrm>
              <a:custGeom>
                <a:avLst/>
                <a:gdLst>
                  <a:gd name="T0" fmla="*/ 1121 w 1180"/>
                  <a:gd name="T1" fmla="*/ 728 h 1080"/>
                  <a:gd name="T2" fmla="*/ 1003 w 1180"/>
                  <a:gd name="T3" fmla="*/ 672 h 1080"/>
                  <a:gd name="T4" fmla="*/ 935 w 1180"/>
                  <a:gd name="T5" fmla="*/ 616 h 1080"/>
                  <a:gd name="T6" fmla="*/ 902 w 1180"/>
                  <a:gd name="T7" fmla="*/ 584 h 1080"/>
                  <a:gd name="T8" fmla="*/ 817 w 1180"/>
                  <a:gd name="T9" fmla="*/ 592 h 1080"/>
                  <a:gd name="T10" fmla="*/ 733 w 1180"/>
                  <a:gd name="T11" fmla="*/ 528 h 1080"/>
                  <a:gd name="T12" fmla="*/ 683 w 1180"/>
                  <a:gd name="T13" fmla="*/ 448 h 1080"/>
                  <a:gd name="T14" fmla="*/ 556 w 1180"/>
                  <a:gd name="T15" fmla="*/ 344 h 1080"/>
                  <a:gd name="T16" fmla="*/ 523 w 1180"/>
                  <a:gd name="T17" fmla="*/ 280 h 1080"/>
                  <a:gd name="T18" fmla="*/ 548 w 1180"/>
                  <a:gd name="T19" fmla="*/ 240 h 1080"/>
                  <a:gd name="T20" fmla="*/ 531 w 1180"/>
                  <a:gd name="T21" fmla="*/ 216 h 1080"/>
                  <a:gd name="T22" fmla="*/ 556 w 1180"/>
                  <a:gd name="T23" fmla="*/ 184 h 1080"/>
                  <a:gd name="T24" fmla="*/ 649 w 1180"/>
                  <a:gd name="T25" fmla="*/ 144 h 1080"/>
                  <a:gd name="T26" fmla="*/ 649 w 1180"/>
                  <a:gd name="T27" fmla="*/ 56 h 1080"/>
                  <a:gd name="T28" fmla="*/ 514 w 1180"/>
                  <a:gd name="T29" fmla="*/ 0 h 1080"/>
                  <a:gd name="T30" fmla="*/ 405 w 1180"/>
                  <a:gd name="T31" fmla="*/ 40 h 1080"/>
                  <a:gd name="T32" fmla="*/ 354 w 1180"/>
                  <a:gd name="T33" fmla="*/ 64 h 1080"/>
                  <a:gd name="T34" fmla="*/ 295 w 1180"/>
                  <a:gd name="T35" fmla="*/ 80 h 1080"/>
                  <a:gd name="T36" fmla="*/ 228 w 1180"/>
                  <a:gd name="T37" fmla="*/ 152 h 1080"/>
                  <a:gd name="T38" fmla="*/ 118 w 1180"/>
                  <a:gd name="T39" fmla="*/ 136 h 1080"/>
                  <a:gd name="T40" fmla="*/ 42 w 1180"/>
                  <a:gd name="T41" fmla="*/ 208 h 1080"/>
                  <a:gd name="T42" fmla="*/ 25 w 1180"/>
                  <a:gd name="T43" fmla="*/ 272 h 1080"/>
                  <a:gd name="T44" fmla="*/ 93 w 1180"/>
                  <a:gd name="T45" fmla="*/ 352 h 1080"/>
                  <a:gd name="T46" fmla="*/ 93 w 1180"/>
                  <a:gd name="T47" fmla="*/ 392 h 1080"/>
                  <a:gd name="T48" fmla="*/ 160 w 1180"/>
                  <a:gd name="T49" fmla="*/ 344 h 1080"/>
                  <a:gd name="T50" fmla="*/ 202 w 1180"/>
                  <a:gd name="T51" fmla="*/ 320 h 1080"/>
                  <a:gd name="T52" fmla="*/ 261 w 1180"/>
                  <a:gd name="T53" fmla="*/ 352 h 1080"/>
                  <a:gd name="T54" fmla="*/ 312 w 1180"/>
                  <a:gd name="T55" fmla="*/ 368 h 1080"/>
                  <a:gd name="T56" fmla="*/ 337 w 1180"/>
                  <a:gd name="T57" fmla="*/ 424 h 1080"/>
                  <a:gd name="T58" fmla="*/ 371 w 1180"/>
                  <a:gd name="T59" fmla="*/ 496 h 1080"/>
                  <a:gd name="T60" fmla="*/ 430 w 1180"/>
                  <a:gd name="T61" fmla="*/ 552 h 1080"/>
                  <a:gd name="T62" fmla="*/ 497 w 1180"/>
                  <a:gd name="T63" fmla="*/ 592 h 1080"/>
                  <a:gd name="T64" fmla="*/ 607 w 1180"/>
                  <a:gd name="T65" fmla="*/ 680 h 1080"/>
                  <a:gd name="T66" fmla="*/ 649 w 1180"/>
                  <a:gd name="T67" fmla="*/ 688 h 1080"/>
                  <a:gd name="T68" fmla="*/ 742 w 1180"/>
                  <a:gd name="T69" fmla="*/ 744 h 1080"/>
                  <a:gd name="T70" fmla="*/ 775 w 1180"/>
                  <a:gd name="T71" fmla="*/ 752 h 1080"/>
                  <a:gd name="T72" fmla="*/ 809 w 1180"/>
                  <a:gd name="T73" fmla="*/ 768 h 1080"/>
                  <a:gd name="T74" fmla="*/ 851 w 1180"/>
                  <a:gd name="T75" fmla="*/ 824 h 1080"/>
                  <a:gd name="T76" fmla="*/ 927 w 1180"/>
                  <a:gd name="T77" fmla="*/ 856 h 1080"/>
                  <a:gd name="T78" fmla="*/ 978 w 1180"/>
                  <a:gd name="T79" fmla="*/ 984 h 1080"/>
                  <a:gd name="T80" fmla="*/ 935 w 1180"/>
                  <a:gd name="T81" fmla="*/ 1000 h 1080"/>
                  <a:gd name="T82" fmla="*/ 927 w 1180"/>
                  <a:gd name="T83" fmla="*/ 1040 h 1080"/>
                  <a:gd name="T84" fmla="*/ 935 w 1180"/>
                  <a:gd name="T85" fmla="*/ 1072 h 1080"/>
                  <a:gd name="T86" fmla="*/ 978 w 1180"/>
                  <a:gd name="T87" fmla="*/ 1072 h 1080"/>
                  <a:gd name="T88" fmla="*/ 1011 w 1180"/>
                  <a:gd name="T89" fmla="*/ 1000 h 1080"/>
                  <a:gd name="T90" fmla="*/ 1070 w 1180"/>
                  <a:gd name="T91" fmla="*/ 952 h 1080"/>
                  <a:gd name="T92" fmla="*/ 1053 w 1180"/>
                  <a:gd name="T93" fmla="*/ 888 h 1080"/>
                  <a:gd name="T94" fmla="*/ 1003 w 1180"/>
                  <a:gd name="T95" fmla="*/ 864 h 1080"/>
                  <a:gd name="T96" fmla="*/ 1011 w 1180"/>
                  <a:gd name="T97" fmla="*/ 800 h 1080"/>
                  <a:gd name="T98" fmla="*/ 1045 w 1180"/>
                  <a:gd name="T99" fmla="*/ 768 h 1080"/>
                  <a:gd name="T100" fmla="*/ 1146 w 1180"/>
                  <a:gd name="T101" fmla="*/ 792 h 1080"/>
                  <a:gd name="T102" fmla="*/ 1180 w 1180"/>
                  <a:gd name="T103" fmla="*/ 784 h 108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180" h="1080">
                    <a:moveTo>
                      <a:pt x="1155" y="752"/>
                    </a:moveTo>
                    <a:lnTo>
                      <a:pt x="1121" y="728"/>
                    </a:lnTo>
                    <a:lnTo>
                      <a:pt x="1087" y="712"/>
                    </a:lnTo>
                    <a:lnTo>
                      <a:pt x="1003" y="672"/>
                    </a:lnTo>
                    <a:lnTo>
                      <a:pt x="919" y="632"/>
                    </a:lnTo>
                    <a:lnTo>
                      <a:pt x="935" y="616"/>
                    </a:lnTo>
                    <a:lnTo>
                      <a:pt x="927" y="600"/>
                    </a:lnTo>
                    <a:lnTo>
                      <a:pt x="902" y="584"/>
                    </a:lnTo>
                    <a:lnTo>
                      <a:pt x="868" y="592"/>
                    </a:lnTo>
                    <a:lnTo>
                      <a:pt x="817" y="592"/>
                    </a:lnTo>
                    <a:lnTo>
                      <a:pt x="775" y="568"/>
                    </a:lnTo>
                    <a:lnTo>
                      <a:pt x="733" y="528"/>
                    </a:lnTo>
                    <a:lnTo>
                      <a:pt x="708" y="488"/>
                    </a:lnTo>
                    <a:lnTo>
                      <a:pt x="683" y="448"/>
                    </a:lnTo>
                    <a:lnTo>
                      <a:pt x="641" y="408"/>
                    </a:lnTo>
                    <a:lnTo>
                      <a:pt x="556" y="344"/>
                    </a:lnTo>
                    <a:lnTo>
                      <a:pt x="523" y="296"/>
                    </a:lnTo>
                    <a:lnTo>
                      <a:pt x="523" y="280"/>
                    </a:lnTo>
                    <a:lnTo>
                      <a:pt x="539" y="256"/>
                    </a:lnTo>
                    <a:lnTo>
                      <a:pt x="548" y="240"/>
                    </a:lnTo>
                    <a:lnTo>
                      <a:pt x="539" y="224"/>
                    </a:lnTo>
                    <a:lnTo>
                      <a:pt x="531" y="216"/>
                    </a:lnTo>
                    <a:lnTo>
                      <a:pt x="531" y="200"/>
                    </a:lnTo>
                    <a:lnTo>
                      <a:pt x="556" y="184"/>
                    </a:lnTo>
                    <a:lnTo>
                      <a:pt x="641" y="152"/>
                    </a:lnTo>
                    <a:lnTo>
                      <a:pt x="649" y="144"/>
                    </a:lnTo>
                    <a:lnTo>
                      <a:pt x="641" y="88"/>
                    </a:lnTo>
                    <a:lnTo>
                      <a:pt x="649" y="56"/>
                    </a:lnTo>
                    <a:lnTo>
                      <a:pt x="531" y="24"/>
                    </a:lnTo>
                    <a:lnTo>
                      <a:pt x="514" y="0"/>
                    </a:lnTo>
                    <a:lnTo>
                      <a:pt x="438" y="8"/>
                    </a:lnTo>
                    <a:lnTo>
                      <a:pt x="405" y="40"/>
                    </a:lnTo>
                    <a:lnTo>
                      <a:pt x="371" y="32"/>
                    </a:lnTo>
                    <a:lnTo>
                      <a:pt x="354" y="64"/>
                    </a:lnTo>
                    <a:lnTo>
                      <a:pt x="320" y="64"/>
                    </a:lnTo>
                    <a:lnTo>
                      <a:pt x="295" y="80"/>
                    </a:lnTo>
                    <a:lnTo>
                      <a:pt x="253" y="72"/>
                    </a:lnTo>
                    <a:lnTo>
                      <a:pt x="228" y="152"/>
                    </a:lnTo>
                    <a:lnTo>
                      <a:pt x="160" y="72"/>
                    </a:lnTo>
                    <a:lnTo>
                      <a:pt x="118" y="136"/>
                    </a:lnTo>
                    <a:lnTo>
                      <a:pt x="25" y="144"/>
                    </a:lnTo>
                    <a:lnTo>
                      <a:pt x="42" y="208"/>
                    </a:lnTo>
                    <a:lnTo>
                      <a:pt x="0" y="232"/>
                    </a:lnTo>
                    <a:lnTo>
                      <a:pt x="25" y="272"/>
                    </a:lnTo>
                    <a:lnTo>
                      <a:pt x="17" y="320"/>
                    </a:lnTo>
                    <a:lnTo>
                      <a:pt x="93" y="352"/>
                    </a:lnTo>
                    <a:lnTo>
                      <a:pt x="76" y="392"/>
                    </a:lnTo>
                    <a:lnTo>
                      <a:pt x="93" y="392"/>
                    </a:lnTo>
                    <a:lnTo>
                      <a:pt x="135" y="376"/>
                    </a:lnTo>
                    <a:lnTo>
                      <a:pt x="160" y="344"/>
                    </a:lnTo>
                    <a:lnTo>
                      <a:pt x="177" y="328"/>
                    </a:lnTo>
                    <a:lnTo>
                      <a:pt x="202" y="320"/>
                    </a:lnTo>
                    <a:lnTo>
                      <a:pt x="244" y="336"/>
                    </a:lnTo>
                    <a:lnTo>
                      <a:pt x="261" y="352"/>
                    </a:lnTo>
                    <a:lnTo>
                      <a:pt x="278" y="368"/>
                    </a:lnTo>
                    <a:lnTo>
                      <a:pt x="312" y="368"/>
                    </a:lnTo>
                    <a:lnTo>
                      <a:pt x="329" y="384"/>
                    </a:lnTo>
                    <a:lnTo>
                      <a:pt x="337" y="424"/>
                    </a:lnTo>
                    <a:lnTo>
                      <a:pt x="362" y="472"/>
                    </a:lnTo>
                    <a:lnTo>
                      <a:pt x="371" y="496"/>
                    </a:lnTo>
                    <a:lnTo>
                      <a:pt x="396" y="512"/>
                    </a:lnTo>
                    <a:lnTo>
                      <a:pt x="430" y="552"/>
                    </a:lnTo>
                    <a:lnTo>
                      <a:pt x="472" y="576"/>
                    </a:lnTo>
                    <a:lnTo>
                      <a:pt x="497" y="592"/>
                    </a:lnTo>
                    <a:lnTo>
                      <a:pt x="514" y="608"/>
                    </a:lnTo>
                    <a:lnTo>
                      <a:pt x="607" y="680"/>
                    </a:lnTo>
                    <a:lnTo>
                      <a:pt x="624" y="696"/>
                    </a:lnTo>
                    <a:lnTo>
                      <a:pt x="649" y="688"/>
                    </a:lnTo>
                    <a:lnTo>
                      <a:pt x="708" y="712"/>
                    </a:lnTo>
                    <a:lnTo>
                      <a:pt x="742" y="744"/>
                    </a:lnTo>
                    <a:lnTo>
                      <a:pt x="767" y="744"/>
                    </a:lnTo>
                    <a:lnTo>
                      <a:pt x="775" y="752"/>
                    </a:lnTo>
                    <a:lnTo>
                      <a:pt x="775" y="768"/>
                    </a:lnTo>
                    <a:lnTo>
                      <a:pt x="809" y="768"/>
                    </a:lnTo>
                    <a:lnTo>
                      <a:pt x="826" y="800"/>
                    </a:lnTo>
                    <a:lnTo>
                      <a:pt x="851" y="824"/>
                    </a:lnTo>
                    <a:lnTo>
                      <a:pt x="893" y="840"/>
                    </a:lnTo>
                    <a:lnTo>
                      <a:pt x="927" y="856"/>
                    </a:lnTo>
                    <a:lnTo>
                      <a:pt x="944" y="904"/>
                    </a:lnTo>
                    <a:lnTo>
                      <a:pt x="978" y="984"/>
                    </a:lnTo>
                    <a:lnTo>
                      <a:pt x="952" y="984"/>
                    </a:lnTo>
                    <a:lnTo>
                      <a:pt x="935" y="1000"/>
                    </a:lnTo>
                    <a:lnTo>
                      <a:pt x="935" y="1016"/>
                    </a:lnTo>
                    <a:lnTo>
                      <a:pt x="927" y="1040"/>
                    </a:lnTo>
                    <a:lnTo>
                      <a:pt x="919" y="1056"/>
                    </a:lnTo>
                    <a:lnTo>
                      <a:pt x="935" y="1072"/>
                    </a:lnTo>
                    <a:lnTo>
                      <a:pt x="952" y="1080"/>
                    </a:lnTo>
                    <a:lnTo>
                      <a:pt x="978" y="1072"/>
                    </a:lnTo>
                    <a:lnTo>
                      <a:pt x="994" y="1040"/>
                    </a:lnTo>
                    <a:lnTo>
                      <a:pt x="1011" y="1000"/>
                    </a:lnTo>
                    <a:lnTo>
                      <a:pt x="1028" y="960"/>
                    </a:lnTo>
                    <a:lnTo>
                      <a:pt x="1070" y="952"/>
                    </a:lnTo>
                    <a:lnTo>
                      <a:pt x="1070" y="904"/>
                    </a:lnTo>
                    <a:lnTo>
                      <a:pt x="1053" y="888"/>
                    </a:lnTo>
                    <a:lnTo>
                      <a:pt x="1028" y="880"/>
                    </a:lnTo>
                    <a:lnTo>
                      <a:pt x="1003" y="864"/>
                    </a:lnTo>
                    <a:lnTo>
                      <a:pt x="994" y="848"/>
                    </a:lnTo>
                    <a:lnTo>
                      <a:pt x="1011" y="800"/>
                    </a:lnTo>
                    <a:lnTo>
                      <a:pt x="1028" y="776"/>
                    </a:lnTo>
                    <a:lnTo>
                      <a:pt x="1045" y="768"/>
                    </a:lnTo>
                    <a:lnTo>
                      <a:pt x="1104" y="776"/>
                    </a:lnTo>
                    <a:lnTo>
                      <a:pt x="1146" y="792"/>
                    </a:lnTo>
                    <a:lnTo>
                      <a:pt x="1180" y="824"/>
                    </a:lnTo>
                    <a:lnTo>
                      <a:pt x="1180" y="784"/>
                    </a:lnTo>
                    <a:lnTo>
                      <a:pt x="1155" y="75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32">
                <a:extLst>
                  <a:ext uri="{FF2B5EF4-FFF2-40B4-BE49-F238E27FC236}">
                    <a16:creationId xmlns:a16="http://schemas.microsoft.com/office/drawing/2014/main" id="{90541F80-7E02-8C2B-D9B4-557953851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4874" y="4219639"/>
                <a:ext cx="1599890" cy="1518918"/>
              </a:xfrm>
              <a:custGeom>
                <a:avLst/>
                <a:gdLst>
                  <a:gd name="T0" fmla="*/ 969 w 1146"/>
                  <a:gd name="T1" fmla="*/ 600 h 1088"/>
                  <a:gd name="T2" fmla="*/ 944 w 1146"/>
                  <a:gd name="T3" fmla="*/ 584 h 1088"/>
                  <a:gd name="T4" fmla="*/ 986 w 1146"/>
                  <a:gd name="T5" fmla="*/ 520 h 1088"/>
                  <a:gd name="T6" fmla="*/ 1019 w 1146"/>
                  <a:gd name="T7" fmla="*/ 472 h 1088"/>
                  <a:gd name="T8" fmla="*/ 1087 w 1146"/>
                  <a:gd name="T9" fmla="*/ 448 h 1088"/>
                  <a:gd name="T10" fmla="*/ 1112 w 1146"/>
                  <a:gd name="T11" fmla="*/ 320 h 1088"/>
                  <a:gd name="T12" fmla="*/ 1095 w 1146"/>
                  <a:gd name="T13" fmla="*/ 272 h 1088"/>
                  <a:gd name="T14" fmla="*/ 1011 w 1146"/>
                  <a:gd name="T15" fmla="*/ 248 h 1088"/>
                  <a:gd name="T16" fmla="*/ 927 w 1146"/>
                  <a:gd name="T17" fmla="*/ 208 h 1088"/>
                  <a:gd name="T18" fmla="*/ 851 w 1146"/>
                  <a:gd name="T19" fmla="*/ 136 h 1088"/>
                  <a:gd name="T20" fmla="*/ 809 w 1146"/>
                  <a:gd name="T21" fmla="*/ 112 h 1088"/>
                  <a:gd name="T22" fmla="*/ 767 w 1146"/>
                  <a:gd name="T23" fmla="*/ 88 h 1088"/>
                  <a:gd name="T24" fmla="*/ 708 w 1146"/>
                  <a:gd name="T25" fmla="*/ 48 h 1088"/>
                  <a:gd name="T26" fmla="*/ 666 w 1146"/>
                  <a:gd name="T27" fmla="*/ 0 h 1088"/>
                  <a:gd name="T28" fmla="*/ 598 w 1146"/>
                  <a:gd name="T29" fmla="*/ 24 h 1088"/>
                  <a:gd name="T30" fmla="*/ 564 w 1146"/>
                  <a:gd name="T31" fmla="*/ 104 h 1088"/>
                  <a:gd name="T32" fmla="*/ 489 w 1146"/>
                  <a:gd name="T33" fmla="*/ 136 h 1088"/>
                  <a:gd name="T34" fmla="*/ 455 w 1146"/>
                  <a:gd name="T35" fmla="*/ 168 h 1088"/>
                  <a:gd name="T36" fmla="*/ 413 w 1146"/>
                  <a:gd name="T37" fmla="*/ 184 h 1088"/>
                  <a:gd name="T38" fmla="*/ 345 w 1146"/>
                  <a:gd name="T39" fmla="*/ 160 h 1088"/>
                  <a:gd name="T40" fmla="*/ 269 w 1146"/>
                  <a:gd name="T41" fmla="*/ 144 h 1088"/>
                  <a:gd name="T42" fmla="*/ 303 w 1146"/>
                  <a:gd name="T43" fmla="*/ 256 h 1088"/>
                  <a:gd name="T44" fmla="*/ 211 w 1146"/>
                  <a:gd name="T45" fmla="*/ 240 h 1088"/>
                  <a:gd name="T46" fmla="*/ 177 w 1146"/>
                  <a:gd name="T47" fmla="*/ 232 h 1088"/>
                  <a:gd name="T48" fmla="*/ 126 w 1146"/>
                  <a:gd name="T49" fmla="*/ 208 h 1088"/>
                  <a:gd name="T50" fmla="*/ 84 w 1146"/>
                  <a:gd name="T51" fmla="*/ 216 h 1088"/>
                  <a:gd name="T52" fmla="*/ 8 w 1146"/>
                  <a:gd name="T53" fmla="*/ 232 h 1088"/>
                  <a:gd name="T54" fmla="*/ 8 w 1146"/>
                  <a:gd name="T55" fmla="*/ 248 h 1088"/>
                  <a:gd name="T56" fmla="*/ 25 w 1146"/>
                  <a:gd name="T57" fmla="*/ 272 h 1088"/>
                  <a:gd name="T58" fmla="*/ 17 w 1146"/>
                  <a:gd name="T59" fmla="*/ 288 h 1088"/>
                  <a:gd name="T60" fmla="*/ 42 w 1146"/>
                  <a:gd name="T61" fmla="*/ 312 h 1088"/>
                  <a:gd name="T62" fmla="*/ 109 w 1146"/>
                  <a:gd name="T63" fmla="*/ 328 h 1088"/>
                  <a:gd name="T64" fmla="*/ 160 w 1146"/>
                  <a:gd name="T65" fmla="*/ 368 h 1088"/>
                  <a:gd name="T66" fmla="*/ 194 w 1146"/>
                  <a:gd name="T67" fmla="*/ 400 h 1088"/>
                  <a:gd name="T68" fmla="*/ 211 w 1146"/>
                  <a:gd name="T69" fmla="*/ 448 h 1088"/>
                  <a:gd name="T70" fmla="*/ 269 w 1146"/>
                  <a:gd name="T71" fmla="*/ 536 h 1088"/>
                  <a:gd name="T72" fmla="*/ 278 w 1146"/>
                  <a:gd name="T73" fmla="*/ 584 h 1088"/>
                  <a:gd name="T74" fmla="*/ 295 w 1146"/>
                  <a:gd name="T75" fmla="*/ 640 h 1088"/>
                  <a:gd name="T76" fmla="*/ 236 w 1146"/>
                  <a:gd name="T77" fmla="*/ 776 h 1088"/>
                  <a:gd name="T78" fmla="*/ 177 w 1146"/>
                  <a:gd name="T79" fmla="*/ 872 h 1088"/>
                  <a:gd name="T80" fmla="*/ 160 w 1146"/>
                  <a:gd name="T81" fmla="*/ 888 h 1088"/>
                  <a:gd name="T82" fmla="*/ 244 w 1146"/>
                  <a:gd name="T83" fmla="*/ 960 h 1088"/>
                  <a:gd name="T84" fmla="*/ 320 w 1146"/>
                  <a:gd name="T85" fmla="*/ 992 h 1088"/>
                  <a:gd name="T86" fmla="*/ 396 w 1146"/>
                  <a:gd name="T87" fmla="*/ 1024 h 1088"/>
                  <a:gd name="T88" fmla="*/ 522 w 1146"/>
                  <a:gd name="T89" fmla="*/ 1056 h 1088"/>
                  <a:gd name="T90" fmla="*/ 607 w 1146"/>
                  <a:gd name="T91" fmla="*/ 1088 h 1088"/>
                  <a:gd name="T92" fmla="*/ 640 w 1146"/>
                  <a:gd name="T93" fmla="*/ 1064 h 1088"/>
                  <a:gd name="T94" fmla="*/ 632 w 1146"/>
                  <a:gd name="T95" fmla="*/ 992 h 1088"/>
                  <a:gd name="T96" fmla="*/ 682 w 1146"/>
                  <a:gd name="T97" fmla="*/ 944 h 1088"/>
                  <a:gd name="T98" fmla="*/ 750 w 1146"/>
                  <a:gd name="T99" fmla="*/ 928 h 1088"/>
                  <a:gd name="T100" fmla="*/ 876 w 1146"/>
                  <a:gd name="T101" fmla="*/ 968 h 1088"/>
                  <a:gd name="T102" fmla="*/ 944 w 1146"/>
                  <a:gd name="T103" fmla="*/ 984 h 1088"/>
                  <a:gd name="T104" fmla="*/ 969 w 1146"/>
                  <a:gd name="T105" fmla="*/ 968 h 1088"/>
                  <a:gd name="T106" fmla="*/ 1019 w 1146"/>
                  <a:gd name="T107" fmla="*/ 928 h 1088"/>
                  <a:gd name="T108" fmla="*/ 1087 w 1146"/>
                  <a:gd name="T109" fmla="*/ 864 h 1088"/>
                  <a:gd name="T110" fmla="*/ 1019 w 1146"/>
                  <a:gd name="T111" fmla="*/ 784 h 1088"/>
                  <a:gd name="T112" fmla="*/ 1036 w 1146"/>
                  <a:gd name="T113" fmla="*/ 720 h 1088"/>
                  <a:gd name="T114" fmla="*/ 1036 w 1146"/>
                  <a:gd name="T115" fmla="*/ 656 h 1088"/>
                  <a:gd name="T116" fmla="*/ 1011 w 1146"/>
                  <a:gd name="T117" fmla="*/ 616 h 108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146" h="1088">
                    <a:moveTo>
                      <a:pt x="1011" y="616"/>
                    </a:moveTo>
                    <a:lnTo>
                      <a:pt x="969" y="600"/>
                    </a:lnTo>
                    <a:lnTo>
                      <a:pt x="935" y="616"/>
                    </a:lnTo>
                    <a:lnTo>
                      <a:pt x="944" y="584"/>
                    </a:lnTo>
                    <a:lnTo>
                      <a:pt x="977" y="544"/>
                    </a:lnTo>
                    <a:lnTo>
                      <a:pt x="986" y="520"/>
                    </a:lnTo>
                    <a:lnTo>
                      <a:pt x="1011" y="504"/>
                    </a:lnTo>
                    <a:lnTo>
                      <a:pt x="1019" y="472"/>
                    </a:lnTo>
                    <a:lnTo>
                      <a:pt x="1053" y="464"/>
                    </a:lnTo>
                    <a:lnTo>
                      <a:pt x="1087" y="448"/>
                    </a:lnTo>
                    <a:lnTo>
                      <a:pt x="1104" y="360"/>
                    </a:lnTo>
                    <a:lnTo>
                      <a:pt x="1112" y="320"/>
                    </a:lnTo>
                    <a:lnTo>
                      <a:pt x="1146" y="288"/>
                    </a:lnTo>
                    <a:lnTo>
                      <a:pt x="1095" y="272"/>
                    </a:lnTo>
                    <a:lnTo>
                      <a:pt x="1036" y="256"/>
                    </a:lnTo>
                    <a:lnTo>
                      <a:pt x="1011" y="248"/>
                    </a:lnTo>
                    <a:lnTo>
                      <a:pt x="986" y="216"/>
                    </a:lnTo>
                    <a:lnTo>
                      <a:pt x="927" y="208"/>
                    </a:lnTo>
                    <a:lnTo>
                      <a:pt x="868" y="168"/>
                    </a:lnTo>
                    <a:lnTo>
                      <a:pt x="851" y="136"/>
                    </a:lnTo>
                    <a:lnTo>
                      <a:pt x="809" y="144"/>
                    </a:lnTo>
                    <a:lnTo>
                      <a:pt x="809" y="112"/>
                    </a:lnTo>
                    <a:lnTo>
                      <a:pt x="767" y="96"/>
                    </a:lnTo>
                    <a:lnTo>
                      <a:pt x="767" y="88"/>
                    </a:lnTo>
                    <a:lnTo>
                      <a:pt x="733" y="72"/>
                    </a:lnTo>
                    <a:lnTo>
                      <a:pt x="708" y="48"/>
                    </a:lnTo>
                    <a:lnTo>
                      <a:pt x="682" y="16"/>
                    </a:lnTo>
                    <a:lnTo>
                      <a:pt x="666" y="0"/>
                    </a:lnTo>
                    <a:lnTo>
                      <a:pt x="623" y="8"/>
                    </a:lnTo>
                    <a:lnTo>
                      <a:pt x="598" y="24"/>
                    </a:lnTo>
                    <a:lnTo>
                      <a:pt x="581" y="88"/>
                    </a:lnTo>
                    <a:lnTo>
                      <a:pt x="564" y="104"/>
                    </a:lnTo>
                    <a:lnTo>
                      <a:pt x="539" y="120"/>
                    </a:lnTo>
                    <a:lnTo>
                      <a:pt x="489" y="136"/>
                    </a:lnTo>
                    <a:lnTo>
                      <a:pt x="463" y="144"/>
                    </a:lnTo>
                    <a:lnTo>
                      <a:pt x="455" y="168"/>
                    </a:lnTo>
                    <a:lnTo>
                      <a:pt x="446" y="184"/>
                    </a:lnTo>
                    <a:lnTo>
                      <a:pt x="413" y="184"/>
                    </a:lnTo>
                    <a:lnTo>
                      <a:pt x="362" y="168"/>
                    </a:lnTo>
                    <a:lnTo>
                      <a:pt x="345" y="160"/>
                    </a:lnTo>
                    <a:lnTo>
                      <a:pt x="328" y="144"/>
                    </a:lnTo>
                    <a:lnTo>
                      <a:pt x="269" y="144"/>
                    </a:lnTo>
                    <a:lnTo>
                      <a:pt x="295" y="200"/>
                    </a:lnTo>
                    <a:lnTo>
                      <a:pt x="303" y="256"/>
                    </a:lnTo>
                    <a:lnTo>
                      <a:pt x="253" y="248"/>
                    </a:lnTo>
                    <a:lnTo>
                      <a:pt x="211" y="240"/>
                    </a:lnTo>
                    <a:lnTo>
                      <a:pt x="194" y="248"/>
                    </a:lnTo>
                    <a:lnTo>
                      <a:pt x="177" y="232"/>
                    </a:lnTo>
                    <a:lnTo>
                      <a:pt x="152" y="208"/>
                    </a:lnTo>
                    <a:lnTo>
                      <a:pt x="126" y="208"/>
                    </a:lnTo>
                    <a:lnTo>
                      <a:pt x="109" y="216"/>
                    </a:lnTo>
                    <a:lnTo>
                      <a:pt x="84" y="216"/>
                    </a:lnTo>
                    <a:lnTo>
                      <a:pt x="34" y="216"/>
                    </a:lnTo>
                    <a:lnTo>
                      <a:pt x="8" y="232"/>
                    </a:lnTo>
                    <a:lnTo>
                      <a:pt x="0" y="240"/>
                    </a:lnTo>
                    <a:lnTo>
                      <a:pt x="8" y="248"/>
                    </a:lnTo>
                    <a:lnTo>
                      <a:pt x="50" y="272"/>
                    </a:lnTo>
                    <a:lnTo>
                      <a:pt x="25" y="272"/>
                    </a:lnTo>
                    <a:lnTo>
                      <a:pt x="17" y="280"/>
                    </a:lnTo>
                    <a:lnTo>
                      <a:pt x="17" y="288"/>
                    </a:lnTo>
                    <a:lnTo>
                      <a:pt x="25" y="304"/>
                    </a:lnTo>
                    <a:lnTo>
                      <a:pt x="42" y="312"/>
                    </a:lnTo>
                    <a:lnTo>
                      <a:pt x="76" y="320"/>
                    </a:lnTo>
                    <a:lnTo>
                      <a:pt x="109" y="328"/>
                    </a:lnTo>
                    <a:lnTo>
                      <a:pt x="135" y="352"/>
                    </a:lnTo>
                    <a:lnTo>
                      <a:pt x="160" y="368"/>
                    </a:lnTo>
                    <a:lnTo>
                      <a:pt x="185" y="376"/>
                    </a:lnTo>
                    <a:lnTo>
                      <a:pt x="194" y="400"/>
                    </a:lnTo>
                    <a:lnTo>
                      <a:pt x="219" y="424"/>
                    </a:lnTo>
                    <a:lnTo>
                      <a:pt x="211" y="448"/>
                    </a:lnTo>
                    <a:lnTo>
                      <a:pt x="244" y="512"/>
                    </a:lnTo>
                    <a:lnTo>
                      <a:pt x="269" y="536"/>
                    </a:lnTo>
                    <a:lnTo>
                      <a:pt x="286" y="560"/>
                    </a:lnTo>
                    <a:lnTo>
                      <a:pt x="278" y="584"/>
                    </a:lnTo>
                    <a:lnTo>
                      <a:pt x="253" y="592"/>
                    </a:lnTo>
                    <a:lnTo>
                      <a:pt x="295" y="640"/>
                    </a:lnTo>
                    <a:lnTo>
                      <a:pt x="269" y="632"/>
                    </a:lnTo>
                    <a:lnTo>
                      <a:pt x="236" y="776"/>
                    </a:lnTo>
                    <a:lnTo>
                      <a:pt x="202" y="848"/>
                    </a:lnTo>
                    <a:lnTo>
                      <a:pt x="177" y="872"/>
                    </a:lnTo>
                    <a:lnTo>
                      <a:pt x="143" y="880"/>
                    </a:lnTo>
                    <a:lnTo>
                      <a:pt x="160" y="888"/>
                    </a:lnTo>
                    <a:lnTo>
                      <a:pt x="211" y="928"/>
                    </a:lnTo>
                    <a:lnTo>
                      <a:pt x="244" y="960"/>
                    </a:lnTo>
                    <a:lnTo>
                      <a:pt x="278" y="968"/>
                    </a:lnTo>
                    <a:lnTo>
                      <a:pt x="320" y="992"/>
                    </a:lnTo>
                    <a:lnTo>
                      <a:pt x="337" y="1016"/>
                    </a:lnTo>
                    <a:lnTo>
                      <a:pt x="396" y="1024"/>
                    </a:lnTo>
                    <a:lnTo>
                      <a:pt x="463" y="1032"/>
                    </a:lnTo>
                    <a:lnTo>
                      <a:pt x="522" y="1056"/>
                    </a:lnTo>
                    <a:lnTo>
                      <a:pt x="581" y="1072"/>
                    </a:lnTo>
                    <a:lnTo>
                      <a:pt x="607" y="1088"/>
                    </a:lnTo>
                    <a:lnTo>
                      <a:pt x="632" y="1080"/>
                    </a:lnTo>
                    <a:lnTo>
                      <a:pt x="640" y="1064"/>
                    </a:lnTo>
                    <a:lnTo>
                      <a:pt x="623" y="1032"/>
                    </a:lnTo>
                    <a:lnTo>
                      <a:pt x="632" y="992"/>
                    </a:lnTo>
                    <a:lnTo>
                      <a:pt x="649" y="968"/>
                    </a:lnTo>
                    <a:lnTo>
                      <a:pt x="682" y="944"/>
                    </a:lnTo>
                    <a:lnTo>
                      <a:pt x="716" y="928"/>
                    </a:lnTo>
                    <a:lnTo>
                      <a:pt x="750" y="928"/>
                    </a:lnTo>
                    <a:lnTo>
                      <a:pt x="842" y="952"/>
                    </a:lnTo>
                    <a:lnTo>
                      <a:pt x="876" y="968"/>
                    </a:lnTo>
                    <a:lnTo>
                      <a:pt x="910" y="984"/>
                    </a:lnTo>
                    <a:lnTo>
                      <a:pt x="944" y="984"/>
                    </a:lnTo>
                    <a:lnTo>
                      <a:pt x="960" y="976"/>
                    </a:lnTo>
                    <a:lnTo>
                      <a:pt x="969" y="968"/>
                    </a:lnTo>
                    <a:lnTo>
                      <a:pt x="977" y="960"/>
                    </a:lnTo>
                    <a:lnTo>
                      <a:pt x="1019" y="928"/>
                    </a:lnTo>
                    <a:lnTo>
                      <a:pt x="1070" y="904"/>
                    </a:lnTo>
                    <a:lnTo>
                      <a:pt x="1087" y="864"/>
                    </a:lnTo>
                    <a:lnTo>
                      <a:pt x="1011" y="832"/>
                    </a:lnTo>
                    <a:lnTo>
                      <a:pt x="1019" y="784"/>
                    </a:lnTo>
                    <a:lnTo>
                      <a:pt x="994" y="744"/>
                    </a:lnTo>
                    <a:lnTo>
                      <a:pt x="1036" y="720"/>
                    </a:lnTo>
                    <a:lnTo>
                      <a:pt x="1019" y="656"/>
                    </a:lnTo>
                    <a:lnTo>
                      <a:pt x="1036" y="656"/>
                    </a:lnTo>
                    <a:lnTo>
                      <a:pt x="1019" y="632"/>
                    </a:lnTo>
                    <a:lnTo>
                      <a:pt x="1011" y="61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33">
                <a:extLst>
                  <a:ext uri="{FF2B5EF4-FFF2-40B4-BE49-F238E27FC236}">
                    <a16:creationId xmlns:a16="http://schemas.microsoft.com/office/drawing/2014/main" id="{3AE46384-A371-DFE7-13A7-D0F2769D8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2563" y="4934424"/>
                <a:ext cx="1647356" cy="1507750"/>
              </a:xfrm>
              <a:custGeom>
                <a:avLst/>
                <a:gdLst>
                  <a:gd name="T0" fmla="*/ 1121 w 1180"/>
                  <a:gd name="T1" fmla="*/ 728 h 1080"/>
                  <a:gd name="T2" fmla="*/ 1003 w 1180"/>
                  <a:gd name="T3" fmla="*/ 672 h 1080"/>
                  <a:gd name="T4" fmla="*/ 935 w 1180"/>
                  <a:gd name="T5" fmla="*/ 616 h 1080"/>
                  <a:gd name="T6" fmla="*/ 902 w 1180"/>
                  <a:gd name="T7" fmla="*/ 584 h 1080"/>
                  <a:gd name="T8" fmla="*/ 817 w 1180"/>
                  <a:gd name="T9" fmla="*/ 592 h 1080"/>
                  <a:gd name="T10" fmla="*/ 733 w 1180"/>
                  <a:gd name="T11" fmla="*/ 528 h 1080"/>
                  <a:gd name="T12" fmla="*/ 683 w 1180"/>
                  <a:gd name="T13" fmla="*/ 448 h 1080"/>
                  <a:gd name="T14" fmla="*/ 556 w 1180"/>
                  <a:gd name="T15" fmla="*/ 344 h 1080"/>
                  <a:gd name="T16" fmla="*/ 523 w 1180"/>
                  <a:gd name="T17" fmla="*/ 280 h 1080"/>
                  <a:gd name="T18" fmla="*/ 548 w 1180"/>
                  <a:gd name="T19" fmla="*/ 240 h 1080"/>
                  <a:gd name="T20" fmla="*/ 531 w 1180"/>
                  <a:gd name="T21" fmla="*/ 216 h 1080"/>
                  <a:gd name="T22" fmla="*/ 556 w 1180"/>
                  <a:gd name="T23" fmla="*/ 184 h 1080"/>
                  <a:gd name="T24" fmla="*/ 649 w 1180"/>
                  <a:gd name="T25" fmla="*/ 144 h 1080"/>
                  <a:gd name="T26" fmla="*/ 649 w 1180"/>
                  <a:gd name="T27" fmla="*/ 56 h 1080"/>
                  <a:gd name="T28" fmla="*/ 514 w 1180"/>
                  <a:gd name="T29" fmla="*/ 0 h 1080"/>
                  <a:gd name="T30" fmla="*/ 405 w 1180"/>
                  <a:gd name="T31" fmla="*/ 40 h 1080"/>
                  <a:gd name="T32" fmla="*/ 354 w 1180"/>
                  <a:gd name="T33" fmla="*/ 64 h 1080"/>
                  <a:gd name="T34" fmla="*/ 295 w 1180"/>
                  <a:gd name="T35" fmla="*/ 80 h 1080"/>
                  <a:gd name="T36" fmla="*/ 228 w 1180"/>
                  <a:gd name="T37" fmla="*/ 152 h 1080"/>
                  <a:gd name="T38" fmla="*/ 118 w 1180"/>
                  <a:gd name="T39" fmla="*/ 136 h 1080"/>
                  <a:gd name="T40" fmla="*/ 42 w 1180"/>
                  <a:gd name="T41" fmla="*/ 208 h 1080"/>
                  <a:gd name="T42" fmla="*/ 25 w 1180"/>
                  <a:gd name="T43" fmla="*/ 272 h 1080"/>
                  <a:gd name="T44" fmla="*/ 93 w 1180"/>
                  <a:gd name="T45" fmla="*/ 352 h 1080"/>
                  <a:gd name="T46" fmla="*/ 93 w 1180"/>
                  <a:gd name="T47" fmla="*/ 392 h 1080"/>
                  <a:gd name="T48" fmla="*/ 160 w 1180"/>
                  <a:gd name="T49" fmla="*/ 344 h 1080"/>
                  <a:gd name="T50" fmla="*/ 202 w 1180"/>
                  <a:gd name="T51" fmla="*/ 320 h 1080"/>
                  <a:gd name="T52" fmla="*/ 261 w 1180"/>
                  <a:gd name="T53" fmla="*/ 352 h 1080"/>
                  <a:gd name="T54" fmla="*/ 312 w 1180"/>
                  <a:gd name="T55" fmla="*/ 368 h 1080"/>
                  <a:gd name="T56" fmla="*/ 337 w 1180"/>
                  <a:gd name="T57" fmla="*/ 424 h 1080"/>
                  <a:gd name="T58" fmla="*/ 371 w 1180"/>
                  <a:gd name="T59" fmla="*/ 496 h 1080"/>
                  <a:gd name="T60" fmla="*/ 430 w 1180"/>
                  <a:gd name="T61" fmla="*/ 552 h 1080"/>
                  <a:gd name="T62" fmla="*/ 497 w 1180"/>
                  <a:gd name="T63" fmla="*/ 592 h 1080"/>
                  <a:gd name="T64" fmla="*/ 607 w 1180"/>
                  <a:gd name="T65" fmla="*/ 680 h 1080"/>
                  <a:gd name="T66" fmla="*/ 649 w 1180"/>
                  <a:gd name="T67" fmla="*/ 688 h 1080"/>
                  <a:gd name="T68" fmla="*/ 742 w 1180"/>
                  <a:gd name="T69" fmla="*/ 744 h 1080"/>
                  <a:gd name="T70" fmla="*/ 775 w 1180"/>
                  <a:gd name="T71" fmla="*/ 752 h 1080"/>
                  <a:gd name="T72" fmla="*/ 809 w 1180"/>
                  <a:gd name="T73" fmla="*/ 768 h 1080"/>
                  <a:gd name="T74" fmla="*/ 851 w 1180"/>
                  <a:gd name="T75" fmla="*/ 824 h 1080"/>
                  <a:gd name="T76" fmla="*/ 927 w 1180"/>
                  <a:gd name="T77" fmla="*/ 856 h 1080"/>
                  <a:gd name="T78" fmla="*/ 978 w 1180"/>
                  <a:gd name="T79" fmla="*/ 984 h 1080"/>
                  <a:gd name="T80" fmla="*/ 935 w 1180"/>
                  <a:gd name="T81" fmla="*/ 1000 h 1080"/>
                  <a:gd name="T82" fmla="*/ 927 w 1180"/>
                  <a:gd name="T83" fmla="*/ 1040 h 1080"/>
                  <a:gd name="T84" fmla="*/ 935 w 1180"/>
                  <a:gd name="T85" fmla="*/ 1072 h 1080"/>
                  <a:gd name="T86" fmla="*/ 978 w 1180"/>
                  <a:gd name="T87" fmla="*/ 1072 h 1080"/>
                  <a:gd name="T88" fmla="*/ 1011 w 1180"/>
                  <a:gd name="T89" fmla="*/ 1000 h 1080"/>
                  <a:gd name="T90" fmla="*/ 1070 w 1180"/>
                  <a:gd name="T91" fmla="*/ 952 h 1080"/>
                  <a:gd name="T92" fmla="*/ 1053 w 1180"/>
                  <a:gd name="T93" fmla="*/ 888 h 1080"/>
                  <a:gd name="T94" fmla="*/ 1003 w 1180"/>
                  <a:gd name="T95" fmla="*/ 864 h 1080"/>
                  <a:gd name="T96" fmla="*/ 1011 w 1180"/>
                  <a:gd name="T97" fmla="*/ 800 h 1080"/>
                  <a:gd name="T98" fmla="*/ 1045 w 1180"/>
                  <a:gd name="T99" fmla="*/ 768 h 1080"/>
                  <a:gd name="T100" fmla="*/ 1146 w 1180"/>
                  <a:gd name="T101" fmla="*/ 792 h 1080"/>
                  <a:gd name="T102" fmla="*/ 1180 w 1180"/>
                  <a:gd name="T103" fmla="*/ 784 h 1080"/>
                  <a:gd name="T104" fmla="*/ 1155 w 1180"/>
                  <a:gd name="T105" fmla="*/ 752 h 108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180" h="1080">
                    <a:moveTo>
                      <a:pt x="1155" y="752"/>
                    </a:moveTo>
                    <a:lnTo>
                      <a:pt x="1121" y="728"/>
                    </a:lnTo>
                    <a:lnTo>
                      <a:pt x="1087" y="712"/>
                    </a:lnTo>
                    <a:lnTo>
                      <a:pt x="1003" y="672"/>
                    </a:lnTo>
                    <a:lnTo>
                      <a:pt x="919" y="632"/>
                    </a:lnTo>
                    <a:lnTo>
                      <a:pt x="935" y="616"/>
                    </a:lnTo>
                    <a:lnTo>
                      <a:pt x="927" y="600"/>
                    </a:lnTo>
                    <a:lnTo>
                      <a:pt x="902" y="584"/>
                    </a:lnTo>
                    <a:lnTo>
                      <a:pt x="868" y="592"/>
                    </a:lnTo>
                    <a:lnTo>
                      <a:pt x="817" y="592"/>
                    </a:lnTo>
                    <a:lnTo>
                      <a:pt x="775" y="568"/>
                    </a:lnTo>
                    <a:lnTo>
                      <a:pt x="733" y="528"/>
                    </a:lnTo>
                    <a:lnTo>
                      <a:pt x="708" y="488"/>
                    </a:lnTo>
                    <a:lnTo>
                      <a:pt x="683" y="448"/>
                    </a:lnTo>
                    <a:lnTo>
                      <a:pt x="641" y="408"/>
                    </a:lnTo>
                    <a:lnTo>
                      <a:pt x="556" y="344"/>
                    </a:lnTo>
                    <a:lnTo>
                      <a:pt x="523" y="296"/>
                    </a:lnTo>
                    <a:lnTo>
                      <a:pt x="523" y="280"/>
                    </a:lnTo>
                    <a:lnTo>
                      <a:pt x="539" y="256"/>
                    </a:lnTo>
                    <a:lnTo>
                      <a:pt x="548" y="240"/>
                    </a:lnTo>
                    <a:lnTo>
                      <a:pt x="539" y="224"/>
                    </a:lnTo>
                    <a:lnTo>
                      <a:pt x="531" y="216"/>
                    </a:lnTo>
                    <a:lnTo>
                      <a:pt x="531" y="200"/>
                    </a:lnTo>
                    <a:lnTo>
                      <a:pt x="556" y="184"/>
                    </a:lnTo>
                    <a:lnTo>
                      <a:pt x="641" y="152"/>
                    </a:lnTo>
                    <a:lnTo>
                      <a:pt x="649" y="144"/>
                    </a:lnTo>
                    <a:lnTo>
                      <a:pt x="641" y="88"/>
                    </a:lnTo>
                    <a:lnTo>
                      <a:pt x="649" y="56"/>
                    </a:lnTo>
                    <a:lnTo>
                      <a:pt x="531" y="24"/>
                    </a:lnTo>
                    <a:lnTo>
                      <a:pt x="514" y="0"/>
                    </a:lnTo>
                    <a:lnTo>
                      <a:pt x="438" y="8"/>
                    </a:lnTo>
                    <a:lnTo>
                      <a:pt x="405" y="40"/>
                    </a:lnTo>
                    <a:lnTo>
                      <a:pt x="371" y="32"/>
                    </a:lnTo>
                    <a:lnTo>
                      <a:pt x="354" y="64"/>
                    </a:lnTo>
                    <a:lnTo>
                      <a:pt x="320" y="64"/>
                    </a:lnTo>
                    <a:lnTo>
                      <a:pt x="295" y="80"/>
                    </a:lnTo>
                    <a:lnTo>
                      <a:pt x="253" y="72"/>
                    </a:lnTo>
                    <a:lnTo>
                      <a:pt x="228" y="152"/>
                    </a:lnTo>
                    <a:lnTo>
                      <a:pt x="160" y="72"/>
                    </a:lnTo>
                    <a:lnTo>
                      <a:pt x="118" y="136"/>
                    </a:lnTo>
                    <a:lnTo>
                      <a:pt x="25" y="144"/>
                    </a:lnTo>
                    <a:lnTo>
                      <a:pt x="42" y="208"/>
                    </a:lnTo>
                    <a:lnTo>
                      <a:pt x="0" y="232"/>
                    </a:lnTo>
                    <a:lnTo>
                      <a:pt x="25" y="272"/>
                    </a:lnTo>
                    <a:lnTo>
                      <a:pt x="17" y="320"/>
                    </a:lnTo>
                    <a:lnTo>
                      <a:pt x="93" y="352"/>
                    </a:lnTo>
                    <a:lnTo>
                      <a:pt x="76" y="392"/>
                    </a:lnTo>
                    <a:lnTo>
                      <a:pt x="93" y="392"/>
                    </a:lnTo>
                    <a:lnTo>
                      <a:pt x="135" y="376"/>
                    </a:lnTo>
                    <a:lnTo>
                      <a:pt x="160" y="344"/>
                    </a:lnTo>
                    <a:lnTo>
                      <a:pt x="177" y="328"/>
                    </a:lnTo>
                    <a:lnTo>
                      <a:pt x="202" y="320"/>
                    </a:lnTo>
                    <a:lnTo>
                      <a:pt x="244" y="336"/>
                    </a:lnTo>
                    <a:lnTo>
                      <a:pt x="261" y="352"/>
                    </a:lnTo>
                    <a:lnTo>
                      <a:pt x="278" y="368"/>
                    </a:lnTo>
                    <a:lnTo>
                      <a:pt x="312" y="368"/>
                    </a:lnTo>
                    <a:lnTo>
                      <a:pt x="329" y="384"/>
                    </a:lnTo>
                    <a:lnTo>
                      <a:pt x="337" y="424"/>
                    </a:lnTo>
                    <a:lnTo>
                      <a:pt x="362" y="472"/>
                    </a:lnTo>
                    <a:lnTo>
                      <a:pt x="371" y="496"/>
                    </a:lnTo>
                    <a:lnTo>
                      <a:pt x="396" y="512"/>
                    </a:lnTo>
                    <a:lnTo>
                      <a:pt x="430" y="552"/>
                    </a:lnTo>
                    <a:lnTo>
                      <a:pt x="472" y="576"/>
                    </a:lnTo>
                    <a:lnTo>
                      <a:pt x="497" y="592"/>
                    </a:lnTo>
                    <a:lnTo>
                      <a:pt x="514" y="608"/>
                    </a:lnTo>
                    <a:lnTo>
                      <a:pt x="607" y="680"/>
                    </a:lnTo>
                    <a:lnTo>
                      <a:pt x="624" y="696"/>
                    </a:lnTo>
                    <a:lnTo>
                      <a:pt x="649" y="688"/>
                    </a:lnTo>
                    <a:lnTo>
                      <a:pt x="708" y="712"/>
                    </a:lnTo>
                    <a:lnTo>
                      <a:pt x="742" y="744"/>
                    </a:lnTo>
                    <a:lnTo>
                      <a:pt x="767" y="744"/>
                    </a:lnTo>
                    <a:lnTo>
                      <a:pt x="775" y="752"/>
                    </a:lnTo>
                    <a:lnTo>
                      <a:pt x="775" y="768"/>
                    </a:lnTo>
                    <a:lnTo>
                      <a:pt x="809" y="768"/>
                    </a:lnTo>
                    <a:lnTo>
                      <a:pt x="826" y="800"/>
                    </a:lnTo>
                    <a:lnTo>
                      <a:pt x="851" y="824"/>
                    </a:lnTo>
                    <a:lnTo>
                      <a:pt x="893" y="840"/>
                    </a:lnTo>
                    <a:lnTo>
                      <a:pt x="927" y="856"/>
                    </a:lnTo>
                    <a:lnTo>
                      <a:pt x="944" y="904"/>
                    </a:lnTo>
                    <a:lnTo>
                      <a:pt x="978" y="984"/>
                    </a:lnTo>
                    <a:lnTo>
                      <a:pt x="952" y="984"/>
                    </a:lnTo>
                    <a:lnTo>
                      <a:pt x="935" y="1000"/>
                    </a:lnTo>
                    <a:lnTo>
                      <a:pt x="935" y="1016"/>
                    </a:lnTo>
                    <a:lnTo>
                      <a:pt x="927" y="1040"/>
                    </a:lnTo>
                    <a:lnTo>
                      <a:pt x="919" y="1056"/>
                    </a:lnTo>
                    <a:lnTo>
                      <a:pt x="935" y="1072"/>
                    </a:lnTo>
                    <a:lnTo>
                      <a:pt x="952" y="1080"/>
                    </a:lnTo>
                    <a:lnTo>
                      <a:pt x="978" y="1072"/>
                    </a:lnTo>
                    <a:lnTo>
                      <a:pt x="994" y="1040"/>
                    </a:lnTo>
                    <a:lnTo>
                      <a:pt x="1011" y="1000"/>
                    </a:lnTo>
                    <a:lnTo>
                      <a:pt x="1028" y="960"/>
                    </a:lnTo>
                    <a:lnTo>
                      <a:pt x="1070" y="952"/>
                    </a:lnTo>
                    <a:lnTo>
                      <a:pt x="1070" y="904"/>
                    </a:lnTo>
                    <a:lnTo>
                      <a:pt x="1053" y="888"/>
                    </a:lnTo>
                    <a:lnTo>
                      <a:pt x="1028" y="880"/>
                    </a:lnTo>
                    <a:lnTo>
                      <a:pt x="1003" y="864"/>
                    </a:lnTo>
                    <a:lnTo>
                      <a:pt x="994" y="848"/>
                    </a:lnTo>
                    <a:lnTo>
                      <a:pt x="1011" y="800"/>
                    </a:lnTo>
                    <a:lnTo>
                      <a:pt x="1028" y="776"/>
                    </a:lnTo>
                    <a:lnTo>
                      <a:pt x="1045" y="768"/>
                    </a:lnTo>
                    <a:lnTo>
                      <a:pt x="1104" y="776"/>
                    </a:lnTo>
                    <a:lnTo>
                      <a:pt x="1146" y="792"/>
                    </a:lnTo>
                    <a:lnTo>
                      <a:pt x="1180" y="824"/>
                    </a:lnTo>
                    <a:lnTo>
                      <a:pt x="1180" y="784"/>
                    </a:lnTo>
                    <a:lnTo>
                      <a:pt x="1155" y="752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 34">
                <a:extLst>
                  <a:ext uri="{FF2B5EF4-FFF2-40B4-BE49-F238E27FC236}">
                    <a16:creationId xmlns:a16="http://schemas.microsoft.com/office/drawing/2014/main" id="{FCA926C1-2CBD-1E45-4C32-7BC6162AE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4874" y="4219639"/>
                <a:ext cx="1599890" cy="1518918"/>
              </a:xfrm>
              <a:custGeom>
                <a:avLst/>
                <a:gdLst>
                  <a:gd name="T0" fmla="*/ 969 w 1146"/>
                  <a:gd name="T1" fmla="*/ 600 h 1088"/>
                  <a:gd name="T2" fmla="*/ 944 w 1146"/>
                  <a:gd name="T3" fmla="*/ 584 h 1088"/>
                  <a:gd name="T4" fmla="*/ 986 w 1146"/>
                  <a:gd name="T5" fmla="*/ 520 h 1088"/>
                  <a:gd name="T6" fmla="*/ 1019 w 1146"/>
                  <a:gd name="T7" fmla="*/ 472 h 1088"/>
                  <a:gd name="T8" fmla="*/ 1087 w 1146"/>
                  <a:gd name="T9" fmla="*/ 448 h 1088"/>
                  <a:gd name="T10" fmla="*/ 1112 w 1146"/>
                  <a:gd name="T11" fmla="*/ 320 h 1088"/>
                  <a:gd name="T12" fmla="*/ 1095 w 1146"/>
                  <a:gd name="T13" fmla="*/ 272 h 1088"/>
                  <a:gd name="T14" fmla="*/ 1011 w 1146"/>
                  <a:gd name="T15" fmla="*/ 248 h 1088"/>
                  <a:gd name="T16" fmla="*/ 927 w 1146"/>
                  <a:gd name="T17" fmla="*/ 208 h 1088"/>
                  <a:gd name="T18" fmla="*/ 851 w 1146"/>
                  <a:gd name="T19" fmla="*/ 136 h 1088"/>
                  <a:gd name="T20" fmla="*/ 809 w 1146"/>
                  <a:gd name="T21" fmla="*/ 112 h 1088"/>
                  <a:gd name="T22" fmla="*/ 767 w 1146"/>
                  <a:gd name="T23" fmla="*/ 88 h 1088"/>
                  <a:gd name="T24" fmla="*/ 708 w 1146"/>
                  <a:gd name="T25" fmla="*/ 48 h 1088"/>
                  <a:gd name="T26" fmla="*/ 666 w 1146"/>
                  <a:gd name="T27" fmla="*/ 0 h 1088"/>
                  <a:gd name="T28" fmla="*/ 598 w 1146"/>
                  <a:gd name="T29" fmla="*/ 24 h 1088"/>
                  <a:gd name="T30" fmla="*/ 564 w 1146"/>
                  <a:gd name="T31" fmla="*/ 104 h 1088"/>
                  <a:gd name="T32" fmla="*/ 489 w 1146"/>
                  <a:gd name="T33" fmla="*/ 136 h 1088"/>
                  <a:gd name="T34" fmla="*/ 455 w 1146"/>
                  <a:gd name="T35" fmla="*/ 168 h 1088"/>
                  <a:gd name="T36" fmla="*/ 413 w 1146"/>
                  <a:gd name="T37" fmla="*/ 184 h 1088"/>
                  <a:gd name="T38" fmla="*/ 345 w 1146"/>
                  <a:gd name="T39" fmla="*/ 160 h 1088"/>
                  <a:gd name="T40" fmla="*/ 269 w 1146"/>
                  <a:gd name="T41" fmla="*/ 144 h 1088"/>
                  <a:gd name="T42" fmla="*/ 303 w 1146"/>
                  <a:gd name="T43" fmla="*/ 256 h 1088"/>
                  <a:gd name="T44" fmla="*/ 211 w 1146"/>
                  <a:gd name="T45" fmla="*/ 240 h 1088"/>
                  <a:gd name="T46" fmla="*/ 177 w 1146"/>
                  <a:gd name="T47" fmla="*/ 232 h 1088"/>
                  <a:gd name="T48" fmla="*/ 126 w 1146"/>
                  <a:gd name="T49" fmla="*/ 208 h 1088"/>
                  <a:gd name="T50" fmla="*/ 84 w 1146"/>
                  <a:gd name="T51" fmla="*/ 216 h 1088"/>
                  <a:gd name="T52" fmla="*/ 8 w 1146"/>
                  <a:gd name="T53" fmla="*/ 232 h 1088"/>
                  <a:gd name="T54" fmla="*/ 8 w 1146"/>
                  <a:gd name="T55" fmla="*/ 248 h 1088"/>
                  <a:gd name="T56" fmla="*/ 25 w 1146"/>
                  <a:gd name="T57" fmla="*/ 272 h 1088"/>
                  <a:gd name="T58" fmla="*/ 17 w 1146"/>
                  <a:gd name="T59" fmla="*/ 288 h 1088"/>
                  <a:gd name="T60" fmla="*/ 42 w 1146"/>
                  <a:gd name="T61" fmla="*/ 312 h 1088"/>
                  <a:gd name="T62" fmla="*/ 109 w 1146"/>
                  <a:gd name="T63" fmla="*/ 328 h 1088"/>
                  <a:gd name="T64" fmla="*/ 160 w 1146"/>
                  <a:gd name="T65" fmla="*/ 368 h 1088"/>
                  <a:gd name="T66" fmla="*/ 194 w 1146"/>
                  <a:gd name="T67" fmla="*/ 400 h 1088"/>
                  <a:gd name="T68" fmla="*/ 211 w 1146"/>
                  <a:gd name="T69" fmla="*/ 448 h 1088"/>
                  <a:gd name="T70" fmla="*/ 269 w 1146"/>
                  <a:gd name="T71" fmla="*/ 536 h 1088"/>
                  <a:gd name="T72" fmla="*/ 278 w 1146"/>
                  <a:gd name="T73" fmla="*/ 584 h 1088"/>
                  <a:gd name="T74" fmla="*/ 295 w 1146"/>
                  <a:gd name="T75" fmla="*/ 640 h 1088"/>
                  <a:gd name="T76" fmla="*/ 236 w 1146"/>
                  <a:gd name="T77" fmla="*/ 776 h 1088"/>
                  <a:gd name="T78" fmla="*/ 177 w 1146"/>
                  <a:gd name="T79" fmla="*/ 872 h 1088"/>
                  <a:gd name="T80" fmla="*/ 160 w 1146"/>
                  <a:gd name="T81" fmla="*/ 888 h 1088"/>
                  <a:gd name="T82" fmla="*/ 244 w 1146"/>
                  <a:gd name="T83" fmla="*/ 960 h 1088"/>
                  <a:gd name="T84" fmla="*/ 320 w 1146"/>
                  <a:gd name="T85" fmla="*/ 992 h 1088"/>
                  <a:gd name="T86" fmla="*/ 396 w 1146"/>
                  <a:gd name="T87" fmla="*/ 1024 h 1088"/>
                  <a:gd name="T88" fmla="*/ 522 w 1146"/>
                  <a:gd name="T89" fmla="*/ 1056 h 1088"/>
                  <a:gd name="T90" fmla="*/ 607 w 1146"/>
                  <a:gd name="T91" fmla="*/ 1088 h 1088"/>
                  <a:gd name="T92" fmla="*/ 632 w 1146"/>
                  <a:gd name="T93" fmla="*/ 1080 h 1088"/>
                  <a:gd name="T94" fmla="*/ 623 w 1146"/>
                  <a:gd name="T95" fmla="*/ 1032 h 1088"/>
                  <a:gd name="T96" fmla="*/ 649 w 1146"/>
                  <a:gd name="T97" fmla="*/ 968 h 1088"/>
                  <a:gd name="T98" fmla="*/ 716 w 1146"/>
                  <a:gd name="T99" fmla="*/ 928 h 1088"/>
                  <a:gd name="T100" fmla="*/ 842 w 1146"/>
                  <a:gd name="T101" fmla="*/ 952 h 1088"/>
                  <a:gd name="T102" fmla="*/ 910 w 1146"/>
                  <a:gd name="T103" fmla="*/ 984 h 1088"/>
                  <a:gd name="T104" fmla="*/ 960 w 1146"/>
                  <a:gd name="T105" fmla="*/ 976 h 1088"/>
                  <a:gd name="T106" fmla="*/ 977 w 1146"/>
                  <a:gd name="T107" fmla="*/ 960 h 1088"/>
                  <a:gd name="T108" fmla="*/ 1070 w 1146"/>
                  <a:gd name="T109" fmla="*/ 904 h 1088"/>
                  <a:gd name="T110" fmla="*/ 1011 w 1146"/>
                  <a:gd name="T111" fmla="*/ 832 h 1088"/>
                  <a:gd name="T112" fmla="*/ 994 w 1146"/>
                  <a:gd name="T113" fmla="*/ 744 h 1088"/>
                  <a:gd name="T114" fmla="*/ 1019 w 1146"/>
                  <a:gd name="T115" fmla="*/ 656 h 1088"/>
                  <a:gd name="T116" fmla="*/ 1019 w 1146"/>
                  <a:gd name="T117" fmla="*/ 632 h 108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146" h="1088">
                    <a:moveTo>
                      <a:pt x="1011" y="616"/>
                    </a:moveTo>
                    <a:lnTo>
                      <a:pt x="969" y="600"/>
                    </a:lnTo>
                    <a:lnTo>
                      <a:pt x="935" y="616"/>
                    </a:lnTo>
                    <a:lnTo>
                      <a:pt x="944" y="584"/>
                    </a:lnTo>
                    <a:lnTo>
                      <a:pt x="977" y="544"/>
                    </a:lnTo>
                    <a:lnTo>
                      <a:pt x="986" y="520"/>
                    </a:lnTo>
                    <a:lnTo>
                      <a:pt x="1011" y="504"/>
                    </a:lnTo>
                    <a:lnTo>
                      <a:pt x="1019" y="472"/>
                    </a:lnTo>
                    <a:lnTo>
                      <a:pt x="1053" y="464"/>
                    </a:lnTo>
                    <a:lnTo>
                      <a:pt x="1087" y="448"/>
                    </a:lnTo>
                    <a:lnTo>
                      <a:pt x="1104" y="360"/>
                    </a:lnTo>
                    <a:lnTo>
                      <a:pt x="1112" y="320"/>
                    </a:lnTo>
                    <a:lnTo>
                      <a:pt x="1146" y="288"/>
                    </a:lnTo>
                    <a:lnTo>
                      <a:pt x="1095" y="272"/>
                    </a:lnTo>
                    <a:lnTo>
                      <a:pt x="1036" y="256"/>
                    </a:lnTo>
                    <a:lnTo>
                      <a:pt x="1011" y="248"/>
                    </a:lnTo>
                    <a:lnTo>
                      <a:pt x="986" y="216"/>
                    </a:lnTo>
                    <a:lnTo>
                      <a:pt x="927" y="208"/>
                    </a:lnTo>
                    <a:lnTo>
                      <a:pt x="868" y="168"/>
                    </a:lnTo>
                    <a:lnTo>
                      <a:pt x="851" y="136"/>
                    </a:lnTo>
                    <a:lnTo>
                      <a:pt x="809" y="144"/>
                    </a:lnTo>
                    <a:lnTo>
                      <a:pt x="809" y="112"/>
                    </a:lnTo>
                    <a:lnTo>
                      <a:pt x="767" y="96"/>
                    </a:lnTo>
                    <a:lnTo>
                      <a:pt x="767" y="88"/>
                    </a:lnTo>
                    <a:lnTo>
                      <a:pt x="733" y="72"/>
                    </a:lnTo>
                    <a:lnTo>
                      <a:pt x="708" y="48"/>
                    </a:lnTo>
                    <a:lnTo>
                      <a:pt x="682" y="16"/>
                    </a:lnTo>
                    <a:lnTo>
                      <a:pt x="666" y="0"/>
                    </a:lnTo>
                    <a:lnTo>
                      <a:pt x="623" y="8"/>
                    </a:lnTo>
                    <a:lnTo>
                      <a:pt x="598" y="24"/>
                    </a:lnTo>
                    <a:lnTo>
                      <a:pt x="581" y="88"/>
                    </a:lnTo>
                    <a:lnTo>
                      <a:pt x="564" y="104"/>
                    </a:lnTo>
                    <a:lnTo>
                      <a:pt x="539" y="120"/>
                    </a:lnTo>
                    <a:lnTo>
                      <a:pt x="489" y="136"/>
                    </a:lnTo>
                    <a:lnTo>
                      <a:pt x="463" y="144"/>
                    </a:lnTo>
                    <a:lnTo>
                      <a:pt x="455" y="168"/>
                    </a:lnTo>
                    <a:lnTo>
                      <a:pt x="446" y="184"/>
                    </a:lnTo>
                    <a:lnTo>
                      <a:pt x="413" y="184"/>
                    </a:lnTo>
                    <a:lnTo>
                      <a:pt x="362" y="168"/>
                    </a:lnTo>
                    <a:lnTo>
                      <a:pt x="345" y="160"/>
                    </a:lnTo>
                    <a:lnTo>
                      <a:pt x="328" y="144"/>
                    </a:lnTo>
                    <a:lnTo>
                      <a:pt x="269" y="144"/>
                    </a:lnTo>
                    <a:lnTo>
                      <a:pt x="295" y="200"/>
                    </a:lnTo>
                    <a:lnTo>
                      <a:pt x="303" y="256"/>
                    </a:lnTo>
                    <a:lnTo>
                      <a:pt x="253" y="248"/>
                    </a:lnTo>
                    <a:lnTo>
                      <a:pt x="211" y="240"/>
                    </a:lnTo>
                    <a:lnTo>
                      <a:pt x="194" y="248"/>
                    </a:lnTo>
                    <a:lnTo>
                      <a:pt x="177" y="232"/>
                    </a:lnTo>
                    <a:lnTo>
                      <a:pt x="152" y="208"/>
                    </a:lnTo>
                    <a:lnTo>
                      <a:pt x="126" y="208"/>
                    </a:lnTo>
                    <a:lnTo>
                      <a:pt x="109" y="216"/>
                    </a:lnTo>
                    <a:lnTo>
                      <a:pt x="84" y="216"/>
                    </a:lnTo>
                    <a:lnTo>
                      <a:pt x="34" y="216"/>
                    </a:lnTo>
                    <a:lnTo>
                      <a:pt x="8" y="232"/>
                    </a:lnTo>
                    <a:lnTo>
                      <a:pt x="0" y="240"/>
                    </a:lnTo>
                    <a:lnTo>
                      <a:pt x="8" y="248"/>
                    </a:lnTo>
                    <a:lnTo>
                      <a:pt x="50" y="272"/>
                    </a:lnTo>
                    <a:lnTo>
                      <a:pt x="25" y="272"/>
                    </a:lnTo>
                    <a:lnTo>
                      <a:pt x="17" y="280"/>
                    </a:lnTo>
                    <a:lnTo>
                      <a:pt x="17" y="288"/>
                    </a:lnTo>
                    <a:lnTo>
                      <a:pt x="25" y="304"/>
                    </a:lnTo>
                    <a:lnTo>
                      <a:pt x="42" y="312"/>
                    </a:lnTo>
                    <a:lnTo>
                      <a:pt x="76" y="320"/>
                    </a:lnTo>
                    <a:lnTo>
                      <a:pt x="109" y="328"/>
                    </a:lnTo>
                    <a:lnTo>
                      <a:pt x="135" y="352"/>
                    </a:lnTo>
                    <a:lnTo>
                      <a:pt x="160" y="368"/>
                    </a:lnTo>
                    <a:lnTo>
                      <a:pt x="185" y="376"/>
                    </a:lnTo>
                    <a:lnTo>
                      <a:pt x="194" y="400"/>
                    </a:lnTo>
                    <a:lnTo>
                      <a:pt x="219" y="424"/>
                    </a:lnTo>
                    <a:lnTo>
                      <a:pt x="211" y="448"/>
                    </a:lnTo>
                    <a:lnTo>
                      <a:pt x="244" y="512"/>
                    </a:lnTo>
                    <a:lnTo>
                      <a:pt x="269" y="536"/>
                    </a:lnTo>
                    <a:lnTo>
                      <a:pt x="286" y="560"/>
                    </a:lnTo>
                    <a:lnTo>
                      <a:pt x="278" y="584"/>
                    </a:lnTo>
                    <a:lnTo>
                      <a:pt x="253" y="592"/>
                    </a:lnTo>
                    <a:lnTo>
                      <a:pt x="295" y="640"/>
                    </a:lnTo>
                    <a:lnTo>
                      <a:pt x="269" y="632"/>
                    </a:lnTo>
                    <a:lnTo>
                      <a:pt x="236" y="776"/>
                    </a:lnTo>
                    <a:lnTo>
                      <a:pt x="202" y="848"/>
                    </a:lnTo>
                    <a:lnTo>
                      <a:pt x="177" y="872"/>
                    </a:lnTo>
                    <a:lnTo>
                      <a:pt x="143" y="880"/>
                    </a:lnTo>
                    <a:lnTo>
                      <a:pt x="160" y="888"/>
                    </a:lnTo>
                    <a:lnTo>
                      <a:pt x="211" y="928"/>
                    </a:lnTo>
                    <a:lnTo>
                      <a:pt x="244" y="960"/>
                    </a:lnTo>
                    <a:lnTo>
                      <a:pt x="278" y="968"/>
                    </a:lnTo>
                    <a:lnTo>
                      <a:pt x="320" y="992"/>
                    </a:lnTo>
                    <a:lnTo>
                      <a:pt x="337" y="1016"/>
                    </a:lnTo>
                    <a:lnTo>
                      <a:pt x="396" y="1024"/>
                    </a:lnTo>
                    <a:lnTo>
                      <a:pt x="463" y="1032"/>
                    </a:lnTo>
                    <a:lnTo>
                      <a:pt x="522" y="1056"/>
                    </a:lnTo>
                    <a:lnTo>
                      <a:pt x="581" y="1072"/>
                    </a:lnTo>
                    <a:lnTo>
                      <a:pt x="607" y="1088"/>
                    </a:lnTo>
                    <a:lnTo>
                      <a:pt x="632" y="1080"/>
                    </a:lnTo>
                    <a:lnTo>
                      <a:pt x="640" y="1064"/>
                    </a:lnTo>
                    <a:lnTo>
                      <a:pt x="623" y="1032"/>
                    </a:lnTo>
                    <a:lnTo>
                      <a:pt x="632" y="992"/>
                    </a:lnTo>
                    <a:lnTo>
                      <a:pt x="649" y="968"/>
                    </a:lnTo>
                    <a:lnTo>
                      <a:pt x="682" y="944"/>
                    </a:lnTo>
                    <a:lnTo>
                      <a:pt x="716" y="928"/>
                    </a:lnTo>
                    <a:lnTo>
                      <a:pt x="750" y="928"/>
                    </a:lnTo>
                    <a:lnTo>
                      <a:pt x="842" y="952"/>
                    </a:lnTo>
                    <a:lnTo>
                      <a:pt x="876" y="968"/>
                    </a:lnTo>
                    <a:lnTo>
                      <a:pt x="910" y="984"/>
                    </a:lnTo>
                    <a:lnTo>
                      <a:pt x="944" y="984"/>
                    </a:lnTo>
                    <a:lnTo>
                      <a:pt x="960" y="976"/>
                    </a:lnTo>
                    <a:lnTo>
                      <a:pt x="969" y="968"/>
                    </a:lnTo>
                    <a:lnTo>
                      <a:pt x="977" y="960"/>
                    </a:lnTo>
                    <a:lnTo>
                      <a:pt x="1019" y="928"/>
                    </a:lnTo>
                    <a:lnTo>
                      <a:pt x="1070" y="904"/>
                    </a:lnTo>
                    <a:lnTo>
                      <a:pt x="1087" y="864"/>
                    </a:lnTo>
                    <a:lnTo>
                      <a:pt x="1011" y="832"/>
                    </a:lnTo>
                    <a:lnTo>
                      <a:pt x="1019" y="784"/>
                    </a:lnTo>
                    <a:lnTo>
                      <a:pt x="994" y="744"/>
                    </a:lnTo>
                    <a:lnTo>
                      <a:pt x="1036" y="720"/>
                    </a:lnTo>
                    <a:lnTo>
                      <a:pt x="1019" y="656"/>
                    </a:lnTo>
                    <a:lnTo>
                      <a:pt x="1036" y="656"/>
                    </a:lnTo>
                    <a:lnTo>
                      <a:pt x="1019" y="632"/>
                    </a:lnTo>
                    <a:lnTo>
                      <a:pt x="1011" y="616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35">
                <a:extLst>
                  <a:ext uri="{FF2B5EF4-FFF2-40B4-BE49-F238E27FC236}">
                    <a16:creationId xmlns:a16="http://schemas.microsoft.com/office/drawing/2014/main" id="{DA33E983-8B03-B9A7-E844-2A4F47311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4654" y="4186134"/>
                <a:ext cx="457909" cy="323887"/>
              </a:xfrm>
              <a:custGeom>
                <a:avLst/>
                <a:gdLst>
                  <a:gd name="T0" fmla="*/ 278 w 328"/>
                  <a:gd name="T1" fmla="*/ 184 h 232"/>
                  <a:gd name="T2" fmla="*/ 286 w 328"/>
                  <a:gd name="T3" fmla="*/ 168 h 232"/>
                  <a:gd name="T4" fmla="*/ 311 w 328"/>
                  <a:gd name="T5" fmla="*/ 160 h 232"/>
                  <a:gd name="T6" fmla="*/ 328 w 328"/>
                  <a:gd name="T7" fmla="*/ 144 h 232"/>
                  <a:gd name="T8" fmla="*/ 328 w 328"/>
                  <a:gd name="T9" fmla="*/ 112 h 232"/>
                  <a:gd name="T10" fmla="*/ 303 w 328"/>
                  <a:gd name="T11" fmla="*/ 88 h 232"/>
                  <a:gd name="T12" fmla="*/ 269 w 328"/>
                  <a:gd name="T13" fmla="*/ 72 h 232"/>
                  <a:gd name="T14" fmla="*/ 278 w 328"/>
                  <a:gd name="T15" fmla="*/ 48 h 232"/>
                  <a:gd name="T16" fmla="*/ 261 w 328"/>
                  <a:gd name="T17" fmla="*/ 24 h 232"/>
                  <a:gd name="T18" fmla="*/ 219 w 328"/>
                  <a:gd name="T19" fmla="*/ 16 h 232"/>
                  <a:gd name="T20" fmla="*/ 168 w 328"/>
                  <a:gd name="T21" fmla="*/ 8 h 232"/>
                  <a:gd name="T22" fmla="*/ 134 w 328"/>
                  <a:gd name="T23" fmla="*/ 24 h 232"/>
                  <a:gd name="T24" fmla="*/ 101 w 328"/>
                  <a:gd name="T25" fmla="*/ 16 h 232"/>
                  <a:gd name="T26" fmla="*/ 75 w 328"/>
                  <a:gd name="T27" fmla="*/ 0 h 232"/>
                  <a:gd name="T28" fmla="*/ 42 w 328"/>
                  <a:gd name="T29" fmla="*/ 16 h 232"/>
                  <a:gd name="T30" fmla="*/ 0 w 328"/>
                  <a:gd name="T31" fmla="*/ 24 h 232"/>
                  <a:gd name="T32" fmla="*/ 16 w 328"/>
                  <a:gd name="T33" fmla="*/ 40 h 232"/>
                  <a:gd name="T34" fmla="*/ 42 w 328"/>
                  <a:gd name="T35" fmla="*/ 72 h 232"/>
                  <a:gd name="T36" fmla="*/ 67 w 328"/>
                  <a:gd name="T37" fmla="*/ 96 h 232"/>
                  <a:gd name="T38" fmla="*/ 101 w 328"/>
                  <a:gd name="T39" fmla="*/ 112 h 232"/>
                  <a:gd name="T40" fmla="*/ 101 w 328"/>
                  <a:gd name="T41" fmla="*/ 120 h 232"/>
                  <a:gd name="T42" fmla="*/ 143 w 328"/>
                  <a:gd name="T43" fmla="*/ 136 h 232"/>
                  <a:gd name="T44" fmla="*/ 143 w 328"/>
                  <a:gd name="T45" fmla="*/ 168 h 232"/>
                  <a:gd name="T46" fmla="*/ 185 w 328"/>
                  <a:gd name="T47" fmla="*/ 160 h 232"/>
                  <a:gd name="T48" fmla="*/ 202 w 328"/>
                  <a:gd name="T49" fmla="*/ 192 h 232"/>
                  <a:gd name="T50" fmla="*/ 261 w 328"/>
                  <a:gd name="T51" fmla="*/ 232 h 232"/>
                  <a:gd name="T52" fmla="*/ 278 w 328"/>
                  <a:gd name="T53" fmla="*/ 232 h 232"/>
                  <a:gd name="T54" fmla="*/ 278 w 328"/>
                  <a:gd name="T55" fmla="*/ 208 h 232"/>
                  <a:gd name="T56" fmla="*/ 278 w 328"/>
                  <a:gd name="T57" fmla="*/ 184 h 23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28" h="232">
                    <a:moveTo>
                      <a:pt x="278" y="184"/>
                    </a:moveTo>
                    <a:lnTo>
                      <a:pt x="286" y="168"/>
                    </a:lnTo>
                    <a:lnTo>
                      <a:pt x="311" y="160"/>
                    </a:lnTo>
                    <a:lnTo>
                      <a:pt x="328" y="144"/>
                    </a:lnTo>
                    <a:lnTo>
                      <a:pt x="328" y="112"/>
                    </a:lnTo>
                    <a:lnTo>
                      <a:pt x="303" y="88"/>
                    </a:lnTo>
                    <a:lnTo>
                      <a:pt x="269" y="72"/>
                    </a:lnTo>
                    <a:lnTo>
                      <a:pt x="278" y="48"/>
                    </a:lnTo>
                    <a:lnTo>
                      <a:pt x="261" y="24"/>
                    </a:lnTo>
                    <a:lnTo>
                      <a:pt x="219" y="16"/>
                    </a:lnTo>
                    <a:lnTo>
                      <a:pt x="168" y="8"/>
                    </a:lnTo>
                    <a:lnTo>
                      <a:pt x="134" y="24"/>
                    </a:lnTo>
                    <a:lnTo>
                      <a:pt x="101" y="16"/>
                    </a:lnTo>
                    <a:lnTo>
                      <a:pt x="75" y="0"/>
                    </a:lnTo>
                    <a:lnTo>
                      <a:pt x="42" y="16"/>
                    </a:lnTo>
                    <a:lnTo>
                      <a:pt x="0" y="24"/>
                    </a:lnTo>
                    <a:lnTo>
                      <a:pt x="16" y="40"/>
                    </a:lnTo>
                    <a:lnTo>
                      <a:pt x="42" y="72"/>
                    </a:lnTo>
                    <a:lnTo>
                      <a:pt x="67" y="96"/>
                    </a:lnTo>
                    <a:lnTo>
                      <a:pt x="101" y="112"/>
                    </a:lnTo>
                    <a:lnTo>
                      <a:pt x="101" y="120"/>
                    </a:lnTo>
                    <a:lnTo>
                      <a:pt x="143" y="136"/>
                    </a:lnTo>
                    <a:lnTo>
                      <a:pt x="143" y="168"/>
                    </a:lnTo>
                    <a:lnTo>
                      <a:pt x="185" y="160"/>
                    </a:lnTo>
                    <a:lnTo>
                      <a:pt x="202" y="192"/>
                    </a:lnTo>
                    <a:lnTo>
                      <a:pt x="261" y="232"/>
                    </a:lnTo>
                    <a:lnTo>
                      <a:pt x="278" y="232"/>
                    </a:lnTo>
                    <a:lnTo>
                      <a:pt x="278" y="208"/>
                    </a:lnTo>
                    <a:lnTo>
                      <a:pt x="278" y="18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36">
                <a:extLst>
                  <a:ext uri="{FF2B5EF4-FFF2-40B4-BE49-F238E27FC236}">
                    <a16:creationId xmlns:a16="http://schemas.microsoft.com/office/drawing/2014/main" id="{5E8B8ED7-86A7-45EE-43D9-A36CF3D75B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2760" y="4409505"/>
                <a:ext cx="82368" cy="111686"/>
              </a:xfrm>
              <a:custGeom>
                <a:avLst/>
                <a:gdLst>
                  <a:gd name="T0" fmla="*/ 25 w 59"/>
                  <a:gd name="T1" fmla="*/ 24 h 80"/>
                  <a:gd name="T2" fmla="*/ 25 w 59"/>
                  <a:gd name="T3" fmla="*/ 0 h 80"/>
                  <a:gd name="T4" fmla="*/ 8 w 59"/>
                  <a:gd name="T5" fmla="*/ 8 h 80"/>
                  <a:gd name="T6" fmla="*/ 0 w 59"/>
                  <a:gd name="T7" fmla="*/ 24 h 80"/>
                  <a:gd name="T8" fmla="*/ 0 w 59"/>
                  <a:gd name="T9" fmla="*/ 48 h 80"/>
                  <a:gd name="T10" fmla="*/ 0 w 59"/>
                  <a:gd name="T11" fmla="*/ 72 h 80"/>
                  <a:gd name="T12" fmla="*/ 42 w 59"/>
                  <a:gd name="T13" fmla="*/ 80 h 80"/>
                  <a:gd name="T14" fmla="*/ 59 w 59"/>
                  <a:gd name="T15" fmla="*/ 48 h 80"/>
                  <a:gd name="T16" fmla="*/ 25 w 59"/>
                  <a:gd name="T17" fmla="*/ 24 h 8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9" h="80">
                    <a:moveTo>
                      <a:pt x="25" y="24"/>
                    </a:moveTo>
                    <a:lnTo>
                      <a:pt x="25" y="0"/>
                    </a:lnTo>
                    <a:lnTo>
                      <a:pt x="8" y="8"/>
                    </a:lnTo>
                    <a:lnTo>
                      <a:pt x="0" y="24"/>
                    </a:lnTo>
                    <a:lnTo>
                      <a:pt x="0" y="48"/>
                    </a:lnTo>
                    <a:lnTo>
                      <a:pt x="0" y="72"/>
                    </a:lnTo>
                    <a:lnTo>
                      <a:pt x="42" y="80"/>
                    </a:lnTo>
                    <a:lnTo>
                      <a:pt x="59" y="48"/>
                    </a:lnTo>
                    <a:lnTo>
                      <a:pt x="25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37">
                <a:extLst>
                  <a:ext uri="{FF2B5EF4-FFF2-40B4-BE49-F238E27FC236}">
                    <a16:creationId xmlns:a16="http://schemas.microsoft.com/office/drawing/2014/main" id="{51ADF29C-509A-1CC8-CF30-7629A4025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9358" y="3851079"/>
                <a:ext cx="470474" cy="446740"/>
              </a:xfrm>
              <a:custGeom>
                <a:avLst/>
                <a:gdLst>
                  <a:gd name="T0" fmla="*/ 236 w 337"/>
                  <a:gd name="T1" fmla="*/ 280 h 320"/>
                  <a:gd name="T2" fmla="*/ 236 w 337"/>
                  <a:gd name="T3" fmla="*/ 232 h 320"/>
                  <a:gd name="T4" fmla="*/ 236 w 337"/>
                  <a:gd name="T5" fmla="*/ 200 h 320"/>
                  <a:gd name="T6" fmla="*/ 287 w 337"/>
                  <a:gd name="T7" fmla="*/ 192 h 320"/>
                  <a:gd name="T8" fmla="*/ 287 w 337"/>
                  <a:gd name="T9" fmla="*/ 168 h 320"/>
                  <a:gd name="T10" fmla="*/ 312 w 337"/>
                  <a:gd name="T11" fmla="*/ 160 h 320"/>
                  <a:gd name="T12" fmla="*/ 321 w 337"/>
                  <a:gd name="T13" fmla="*/ 128 h 320"/>
                  <a:gd name="T14" fmla="*/ 295 w 337"/>
                  <a:gd name="T15" fmla="*/ 104 h 320"/>
                  <a:gd name="T16" fmla="*/ 321 w 337"/>
                  <a:gd name="T17" fmla="*/ 96 h 320"/>
                  <a:gd name="T18" fmla="*/ 337 w 337"/>
                  <a:gd name="T19" fmla="*/ 56 h 320"/>
                  <a:gd name="T20" fmla="*/ 329 w 337"/>
                  <a:gd name="T21" fmla="*/ 16 h 320"/>
                  <a:gd name="T22" fmla="*/ 321 w 337"/>
                  <a:gd name="T23" fmla="*/ 16 h 320"/>
                  <a:gd name="T24" fmla="*/ 304 w 337"/>
                  <a:gd name="T25" fmla="*/ 0 h 320"/>
                  <a:gd name="T26" fmla="*/ 278 w 337"/>
                  <a:gd name="T27" fmla="*/ 0 h 320"/>
                  <a:gd name="T28" fmla="*/ 219 w 337"/>
                  <a:gd name="T29" fmla="*/ 16 h 320"/>
                  <a:gd name="T30" fmla="*/ 203 w 337"/>
                  <a:gd name="T31" fmla="*/ 24 h 320"/>
                  <a:gd name="T32" fmla="*/ 194 w 337"/>
                  <a:gd name="T33" fmla="*/ 48 h 320"/>
                  <a:gd name="T34" fmla="*/ 203 w 337"/>
                  <a:gd name="T35" fmla="*/ 72 h 320"/>
                  <a:gd name="T36" fmla="*/ 219 w 337"/>
                  <a:gd name="T37" fmla="*/ 96 h 320"/>
                  <a:gd name="T38" fmla="*/ 228 w 337"/>
                  <a:gd name="T39" fmla="*/ 112 h 320"/>
                  <a:gd name="T40" fmla="*/ 211 w 337"/>
                  <a:gd name="T41" fmla="*/ 128 h 320"/>
                  <a:gd name="T42" fmla="*/ 186 w 337"/>
                  <a:gd name="T43" fmla="*/ 136 h 320"/>
                  <a:gd name="T44" fmla="*/ 160 w 337"/>
                  <a:gd name="T45" fmla="*/ 120 h 320"/>
                  <a:gd name="T46" fmla="*/ 169 w 337"/>
                  <a:gd name="T47" fmla="*/ 72 h 320"/>
                  <a:gd name="T48" fmla="*/ 160 w 337"/>
                  <a:gd name="T49" fmla="*/ 56 h 320"/>
                  <a:gd name="T50" fmla="*/ 152 w 337"/>
                  <a:gd name="T51" fmla="*/ 32 h 320"/>
                  <a:gd name="T52" fmla="*/ 110 w 337"/>
                  <a:gd name="T53" fmla="*/ 128 h 320"/>
                  <a:gd name="T54" fmla="*/ 76 w 337"/>
                  <a:gd name="T55" fmla="*/ 168 h 320"/>
                  <a:gd name="T56" fmla="*/ 68 w 337"/>
                  <a:gd name="T57" fmla="*/ 216 h 320"/>
                  <a:gd name="T58" fmla="*/ 42 w 337"/>
                  <a:gd name="T59" fmla="*/ 216 h 320"/>
                  <a:gd name="T60" fmla="*/ 34 w 337"/>
                  <a:gd name="T61" fmla="*/ 216 h 320"/>
                  <a:gd name="T62" fmla="*/ 26 w 337"/>
                  <a:gd name="T63" fmla="*/ 232 h 320"/>
                  <a:gd name="T64" fmla="*/ 0 w 337"/>
                  <a:gd name="T65" fmla="*/ 240 h 320"/>
                  <a:gd name="T66" fmla="*/ 26 w 337"/>
                  <a:gd name="T67" fmla="*/ 256 h 320"/>
                  <a:gd name="T68" fmla="*/ 59 w 337"/>
                  <a:gd name="T69" fmla="*/ 264 h 320"/>
                  <a:gd name="T70" fmla="*/ 93 w 337"/>
                  <a:gd name="T71" fmla="*/ 248 h 320"/>
                  <a:gd name="T72" fmla="*/ 144 w 337"/>
                  <a:gd name="T73" fmla="*/ 256 h 320"/>
                  <a:gd name="T74" fmla="*/ 186 w 337"/>
                  <a:gd name="T75" fmla="*/ 264 h 320"/>
                  <a:gd name="T76" fmla="*/ 203 w 337"/>
                  <a:gd name="T77" fmla="*/ 288 h 320"/>
                  <a:gd name="T78" fmla="*/ 194 w 337"/>
                  <a:gd name="T79" fmla="*/ 312 h 320"/>
                  <a:gd name="T80" fmla="*/ 219 w 337"/>
                  <a:gd name="T81" fmla="*/ 320 h 320"/>
                  <a:gd name="T82" fmla="*/ 219 w 337"/>
                  <a:gd name="T83" fmla="*/ 296 h 320"/>
                  <a:gd name="T84" fmla="*/ 236 w 337"/>
                  <a:gd name="T85" fmla="*/ 280 h 32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337" h="320">
                    <a:moveTo>
                      <a:pt x="236" y="280"/>
                    </a:moveTo>
                    <a:lnTo>
                      <a:pt x="236" y="232"/>
                    </a:lnTo>
                    <a:lnTo>
                      <a:pt x="236" y="200"/>
                    </a:lnTo>
                    <a:lnTo>
                      <a:pt x="287" y="192"/>
                    </a:lnTo>
                    <a:lnTo>
                      <a:pt x="287" y="168"/>
                    </a:lnTo>
                    <a:lnTo>
                      <a:pt x="312" y="160"/>
                    </a:lnTo>
                    <a:lnTo>
                      <a:pt x="321" y="128"/>
                    </a:lnTo>
                    <a:lnTo>
                      <a:pt x="295" y="104"/>
                    </a:lnTo>
                    <a:lnTo>
                      <a:pt x="321" y="96"/>
                    </a:lnTo>
                    <a:lnTo>
                      <a:pt x="337" y="56"/>
                    </a:lnTo>
                    <a:lnTo>
                      <a:pt x="329" y="16"/>
                    </a:lnTo>
                    <a:lnTo>
                      <a:pt x="321" y="16"/>
                    </a:lnTo>
                    <a:lnTo>
                      <a:pt x="304" y="0"/>
                    </a:lnTo>
                    <a:lnTo>
                      <a:pt x="278" y="0"/>
                    </a:lnTo>
                    <a:lnTo>
                      <a:pt x="219" y="16"/>
                    </a:lnTo>
                    <a:lnTo>
                      <a:pt x="203" y="24"/>
                    </a:lnTo>
                    <a:lnTo>
                      <a:pt x="194" y="48"/>
                    </a:lnTo>
                    <a:lnTo>
                      <a:pt x="203" y="72"/>
                    </a:lnTo>
                    <a:lnTo>
                      <a:pt x="219" y="96"/>
                    </a:lnTo>
                    <a:lnTo>
                      <a:pt x="228" y="112"/>
                    </a:lnTo>
                    <a:lnTo>
                      <a:pt x="211" y="128"/>
                    </a:lnTo>
                    <a:lnTo>
                      <a:pt x="186" y="136"/>
                    </a:lnTo>
                    <a:lnTo>
                      <a:pt x="160" y="120"/>
                    </a:lnTo>
                    <a:lnTo>
                      <a:pt x="169" y="72"/>
                    </a:lnTo>
                    <a:lnTo>
                      <a:pt x="160" y="56"/>
                    </a:lnTo>
                    <a:lnTo>
                      <a:pt x="152" y="32"/>
                    </a:lnTo>
                    <a:lnTo>
                      <a:pt x="110" y="128"/>
                    </a:lnTo>
                    <a:lnTo>
                      <a:pt x="76" y="168"/>
                    </a:lnTo>
                    <a:lnTo>
                      <a:pt x="68" y="216"/>
                    </a:lnTo>
                    <a:lnTo>
                      <a:pt x="42" y="216"/>
                    </a:lnTo>
                    <a:lnTo>
                      <a:pt x="34" y="216"/>
                    </a:lnTo>
                    <a:lnTo>
                      <a:pt x="26" y="232"/>
                    </a:lnTo>
                    <a:lnTo>
                      <a:pt x="0" y="240"/>
                    </a:lnTo>
                    <a:lnTo>
                      <a:pt x="26" y="256"/>
                    </a:lnTo>
                    <a:lnTo>
                      <a:pt x="59" y="264"/>
                    </a:lnTo>
                    <a:lnTo>
                      <a:pt x="93" y="248"/>
                    </a:lnTo>
                    <a:lnTo>
                      <a:pt x="144" y="256"/>
                    </a:lnTo>
                    <a:lnTo>
                      <a:pt x="186" y="264"/>
                    </a:lnTo>
                    <a:lnTo>
                      <a:pt x="203" y="288"/>
                    </a:lnTo>
                    <a:lnTo>
                      <a:pt x="194" y="312"/>
                    </a:lnTo>
                    <a:lnTo>
                      <a:pt x="219" y="320"/>
                    </a:lnTo>
                    <a:lnTo>
                      <a:pt x="219" y="296"/>
                    </a:lnTo>
                    <a:lnTo>
                      <a:pt x="236" y="28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Freeform 38">
                <a:extLst>
                  <a:ext uri="{FF2B5EF4-FFF2-40B4-BE49-F238E27FC236}">
                    <a16:creationId xmlns:a16="http://schemas.microsoft.com/office/drawing/2014/main" id="{E185277F-779E-C7E9-7E9F-759BBFAB3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2760" y="4409505"/>
                <a:ext cx="82368" cy="111686"/>
              </a:xfrm>
              <a:custGeom>
                <a:avLst/>
                <a:gdLst>
                  <a:gd name="T0" fmla="*/ 25 w 59"/>
                  <a:gd name="T1" fmla="*/ 24 h 80"/>
                  <a:gd name="T2" fmla="*/ 25 w 59"/>
                  <a:gd name="T3" fmla="*/ 0 h 80"/>
                  <a:gd name="T4" fmla="*/ 8 w 59"/>
                  <a:gd name="T5" fmla="*/ 8 h 80"/>
                  <a:gd name="T6" fmla="*/ 0 w 59"/>
                  <a:gd name="T7" fmla="*/ 24 h 80"/>
                  <a:gd name="T8" fmla="*/ 0 w 59"/>
                  <a:gd name="T9" fmla="*/ 48 h 80"/>
                  <a:gd name="T10" fmla="*/ 0 w 59"/>
                  <a:gd name="T11" fmla="*/ 72 h 80"/>
                  <a:gd name="T12" fmla="*/ 42 w 59"/>
                  <a:gd name="T13" fmla="*/ 80 h 80"/>
                  <a:gd name="T14" fmla="*/ 59 w 59"/>
                  <a:gd name="T15" fmla="*/ 48 h 80"/>
                  <a:gd name="T16" fmla="*/ 25 w 59"/>
                  <a:gd name="T17" fmla="*/ 24 h 8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9" h="80">
                    <a:moveTo>
                      <a:pt x="25" y="24"/>
                    </a:moveTo>
                    <a:lnTo>
                      <a:pt x="25" y="0"/>
                    </a:lnTo>
                    <a:lnTo>
                      <a:pt x="8" y="8"/>
                    </a:lnTo>
                    <a:lnTo>
                      <a:pt x="0" y="24"/>
                    </a:lnTo>
                    <a:lnTo>
                      <a:pt x="0" y="48"/>
                    </a:lnTo>
                    <a:lnTo>
                      <a:pt x="0" y="72"/>
                    </a:lnTo>
                    <a:lnTo>
                      <a:pt x="42" y="80"/>
                    </a:lnTo>
                    <a:lnTo>
                      <a:pt x="59" y="48"/>
                    </a:lnTo>
                    <a:lnTo>
                      <a:pt x="25" y="2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Freeform 39">
                <a:extLst>
                  <a:ext uri="{FF2B5EF4-FFF2-40B4-BE49-F238E27FC236}">
                    <a16:creationId xmlns:a16="http://schemas.microsoft.com/office/drawing/2014/main" id="{B80BDB2E-E6F8-1897-D579-7E8756BF7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9358" y="3851079"/>
                <a:ext cx="470474" cy="446740"/>
              </a:xfrm>
              <a:custGeom>
                <a:avLst/>
                <a:gdLst>
                  <a:gd name="T0" fmla="*/ 236 w 337"/>
                  <a:gd name="T1" fmla="*/ 280 h 320"/>
                  <a:gd name="T2" fmla="*/ 236 w 337"/>
                  <a:gd name="T3" fmla="*/ 232 h 320"/>
                  <a:gd name="T4" fmla="*/ 236 w 337"/>
                  <a:gd name="T5" fmla="*/ 200 h 320"/>
                  <a:gd name="T6" fmla="*/ 287 w 337"/>
                  <a:gd name="T7" fmla="*/ 192 h 320"/>
                  <a:gd name="T8" fmla="*/ 287 w 337"/>
                  <a:gd name="T9" fmla="*/ 168 h 320"/>
                  <a:gd name="T10" fmla="*/ 312 w 337"/>
                  <a:gd name="T11" fmla="*/ 160 h 320"/>
                  <a:gd name="T12" fmla="*/ 321 w 337"/>
                  <a:gd name="T13" fmla="*/ 128 h 320"/>
                  <a:gd name="T14" fmla="*/ 295 w 337"/>
                  <a:gd name="T15" fmla="*/ 104 h 320"/>
                  <a:gd name="T16" fmla="*/ 321 w 337"/>
                  <a:gd name="T17" fmla="*/ 96 h 320"/>
                  <a:gd name="T18" fmla="*/ 337 w 337"/>
                  <a:gd name="T19" fmla="*/ 56 h 320"/>
                  <a:gd name="T20" fmla="*/ 329 w 337"/>
                  <a:gd name="T21" fmla="*/ 16 h 320"/>
                  <a:gd name="T22" fmla="*/ 321 w 337"/>
                  <a:gd name="T23" fmla="*/ 16 h 320"/>
                  <a:gd name="T24" fmla="*/ 304 w 337"/>
                  <a:gd name="T25" fmla="*/ 0 h 320"/>
                  <a:gd name="T26" fmla="*/ 278 w 337"/>
                  <a:gd name="T27" fmla="*/ 0 h 320"/>
                  <a:gd name="T28" fmla="*/ 219 w 337"/>
                  <a:gd name="T29" fmla="*/ 16 h 320"/>
                  <a:gd name="T30" fmla="*/ 203 w 337"/>
                  <a:gd name="T31" fmla="*/ 24 h 320"/>
                  <a:gd name="T32" fmla="*/ 194 w 337"/>
                  <a:gd name="T33" fmla="*/ 48 h 320"/>
                  <a:gd name="T34" fmla="*/ 203 w 337"/>
                  <a:gd name="T35" fmla="*/ 72 h 320"/>
                  <a:gd name="T36" fmla="*/ 219 w 337"/>
                  <a:gd name="T37" fmla="*/ 96 h 320"/>
                  <a:gd name="T38" fmla="*/ 228 w 337"/>
                  <a:gd name="T39" fmla="*/ 112 h 320"/>
                  <a:gd name="T40" fmla="*/ 211 w 337"/>
                  <a:gd name="T41" fmla="*/ 128 h 320"/>
                  <a:gd name="T42" fmla="*/ 186 w 337"/>
                  <a:gd name="T43" fmla="*/ 136 h 320"/>
                  <a:gd name="T44" fmla="*/ 160 w 337"/>
                  <a:gd name="T45" fmla="*/ 120 h 320"/>
                  <a:gd name="T46" fmla="*/ 169 w 337"/>
                  <a:gd name="T47" fmla="*/ 72 h 320"/>
                  <a:gd name="T48" fmla="*/ 160 w 337"/>
                  <a:gd name="T49" fmla="*/ 56 h 320"/>
                  <a:gd name="T50" fmla="*/ 152 w 337"/>
                  <a:gd name="T51" fmla="*/ 32 h 320"/>
                  <a:gd name="T52" fmla="*/ 110 w 337"/>
                  <a:gd name="T53" fmla="*/ 128 h 320"/>
                  <a:gd name="T54" fmla="*/ 76 w 337"/>
                  <a:gd name="T55" fmla="*/ 168 h 320"/>
                  <a:gd name="T56" fmla="*/ 68 w 337"/>
                  <a:gd name="T57" fmla="*/ 216 h 320"/>
                  <a:gd name="T58" fmla="*/ 42 w 337"/>
                  <a:gd name="T59" fmla="*/ 216 h 320"/>
                  <a:gd name="T60" fmla="*/ 34 w 337"/>
                  <a:gd name="T61" fmla="*/ 216 h 320"/>
                  <a:gd name="T62" fmla="*/ 26 w 337"/>
                  <a:gd name="T63" fmla="*/ 232 h 320"/>
                  <a:gd name="T64" fmla="*/ 0 w 337"/>
                  <a:gd name="T65" fmla="*/ 240 h 320"/>
                  <a:gd name="T66" fmla="*/ 26 w 337"/>
                  <a:gd name="T67" fmla="*/ 256 h 320"/>
                  <a:gd name="T68" fmla="*/ 59 w 337"/>
                  <a:gd name="T69" fmla="*/ 264 h 320"/>
                  <a:gd name="T70" fmla="*/ 93 w 337"/>
                  <a:gd name="T71" fmla="*/ 248 h 320"/>
                  <a:gd name="T72" fmla="*/ 144 w 337"/>
                  <a:gd name="T73" fmla="*/ 256 h 320"/>
                  <a:gd name="T74" fmla="*/ 186 w 337"/>
                  <a:gd name="T75" fmla="*/ 264 h 320"/>
                  <a:gd name="T76" fmla="*/ 203 w 337"/>
                  <a:gd name="T77" fmla="*/ 288 h 320"/>
                  <a:gd name="T78" fmla="*/ 194 w 337"/>
                  <a:gd name="T79" fmla="*/ 312 h 320"/>
                  <a:gd name="T80" fmla="*/ 219 w 337"/>
                  <a:gd name="T81" fmla="*/ 320 h 320"/>
                  <a:gd name="T82" fmla="*/ 219 w 337"/>
                  <a:gd name="T83" fmla="*/ 296 h 320"/>
                  <a:gd name="T84" fmla="*/ 236 w 337"/>
                  <a:gd name="T85" fmla="*/ 280 h 32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337" h="320">
                    <a:moveTo>
                      <a:pt x="236" y="280"/>
                    </a:moveTo>
                    <a:lnTo>
                      <a:pt x="236" y="232"/>
                    </a:lnTo>
                    <a:lnTo>
                      <a:pt x="236" y="200"/>
                    </a:lnTo>
                    <a:lnTo>
                      <a:pt x="287" y="192"/>
                    </a:lnTo>
                    <a:lnTo>
                      <a:pt x="287" y="168"/>
                    </a:lnTo>
                    <a:lnTo>
                      <a:pt x="312" y="160"/>
                    </a:lnTo>
                    <a:lnTo>
                      <a:pt x="321" y="128"/>
                    </a:lnTo>
                    <a:lnTo>
                      <a:pt x="295" y="104"/>
                    </a:lnTo>
                    <a:lnTo>
                      <a:pt x="321" y="96"/>
                    </a:lnTo>
                    <a:lnTo>
                      <a:pt x="337" y="56"/>
                    </a:lnTo>
                    <a:lnTo>
                      <a:pt x="329" y="16"/>
                    </a:lnTo>
                    <a:lnTo>
                      <a:pt x="321" y="16"/>
                    </a:lnTo>
                    <a:lnTo>
                      <a:pt x="304" y="0"/>
                    </a:lnTo>
                    <a:lnTo>
                      <a:pt x="278" y="0"/>
                    </a:lnTo>
                    <a:lnTo>
                      <a:pt x="219" y="16"/>
                    </a:lnTo>
                    <a:lnTo>
                      <a:pt x="203" y="24"/>
                    </a:lnTo>
                    <a:lnTo>
                      <a:pt x="194" y="48"/>
                    </a:lnTo>
                    <a:lnTo>
                      <a:pt x="203" y="72"/>
                    </a:lnTo>
                    <a:lnTo>
                      <a:pt x="219" y="96"/>
                    </a:lnTo>
                    <a:lnTo>
                      <a:pt x="228" y="112"/>
                    </a:lnTo>
                    <a:lnTo>
                      <a:pt x="211" y="128"/>
                    </a:lnTo>
                    <a:lnTo>
                      <a:pt x="186" y="136"/>
                    </a:lnTo>
                    <a:lnTo>
                      <a:pt x="160" y="120"/>
                    </a:lnTo>
                    <a:lnTo>
                      <a:pt x="169" y="72"/>
                    </a:lnTo>
                    <a:lnTo>
                      <a:pt x="160" y="56"/>
                    </a:lnTo>
                    <a:lnTo>
                      <a:pt x="152" y="32"/>
                    </a:lnTo>
                    <a:lnTo>
                      <a:pt x="110" y="128"/>
                    </a:lnTo>
                    <a:lnTo>
                      <a:pt x="76" y="168"/>
                    </a:lnTo>
                    <a:lnTo>
                      <a:pt x="68" y="216"/>
                    </a:lnTo>
                    <a:lnTo>
                      <a:pt x="42" y="216"/>
                    </a:lnTo>
                    <a:lnTo>
                      <a:pt x="34" y="216"/>
                    </a:lnTo>
                    <a:lnTo>
                      <a:pt x="26" y="232"/>
                    </a:lnTo>
                    <a:lnTo>
                      <a:pt x="0" y="240"/>
                    </a:lnTo>
                    <a:lnTo>
                      <a:pt x="26" y="256"/>
                    </a:lnTo>
                    <a:lnTo>
                      <a:pt x="59" y="264"/>
                    </a:lnTo>
                    <a:lnTo>
                      <a:pt x="93" y="248"/>
                    </a:lnTo>
                    <a:lnTo>
                      <a:pt x="144" y="256"/>
                    </a:lnTo>
                    <a:lnTo>
                      <a:pt x="186" y="264"/>
                    </a:lnTo>
                    <a:lnTo>
                      <a:pt x="203" y="288"/>
                    </a:lnTo>
                    <a:lnTo>
                      <a:pt x="194" y="312"/>
                    </a:lnTo>
                    <a:lnTo>
                      <a:pt x="219" y="320"/>
                    </a:lnTo>
                    <a:lnTo>
                      <a:pt x="219" y="296"/>
                    </a:lnTo>
                    <a:lnTo>
                      <a:pt x="236" y="28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 40">
                <a:extLst>
                  <a:ext uri="{FF2B5EF4-FFF2-40B4-BE49-F238E27FC236}">
                    <a16:creationId xmlns:a16="http://schemas.microsoft.com/office/drawing/2014/main" id="{3F91CF25-F5D2-486A-0224-80A35DEC9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5933" y="3169800"/>
                <a:ext cx="294569" cy="480246"/>
              </a:xfrm>
              <a:custGeom>
                <a:avLst/>
                <a:gdLst>
                  <a:gd name="T0" fmla="*/ 143 w 211"/>
                  <a:gd name="T1" fmla="*/ 344 h 344"/>
                  <a:gd name="T2" fmla="*/ 118 w 211"/>
                  <a:gd name="T3" fmla="*/ 312 h 344"/>
                  <a:gd name="T4" fmla="*/ 143 w 211"/>
                  <a:gd name="T5" fmla="*/ 312 h 344"/>
                  <a:gd name="T6" fmla="*/ 127 w 211"/>
                  <a:gd name="T7" fmla="*/ 280 h 344"/>
                  <a:gd name="T8" fmla="*/ 127 w 211"/>
                  <a:gd name="T9" fmla="*/ 248 h 344"/>
                  <a:gd name="T10" fmla="*/ 169 w 211"/>
                  <a:gd name="T11" fmla="*/ 184 h 344"/>
                  <a:gd name="T12" fmla="*/ 186 w 211"/>
                  <a:gd name="T13" fmla="*/ 192 h 344"/>
                  <a:gd name="T14" fmla="*/ 211 w 211"/>
                  <a:gd name="T15" fmla="*/ 136 h 344"/>
                  <a:gd name="T16" fmla="*/ 177 w 211"/>
                  <a:gd name="T17" fmla="*/ 112 h 344"/>
                  <a:gd name="T18" fmla="*/ 169 w 211"/>
                  <a:gd name="T19" fmla="*/ 72 h 344"/>
                  <a:gd name="T20" fmla="*/ 177 w 211"/>
                  <a:gd name="T21" fmla="*/ 24 h 344"/>
                  <a:gd name="T22" fmla="*/ 177 w 211"/>
                  <a:gd name="T23" fmla="*/ 8 h 344"/>
                  <a:gd name="T24" fmla="*/ 160 w 211"/>
                  <a:gd name="T25" fmla="*/ 0 h 344"/>
                  <a:gd name="T26" fmla="*/ 135 w 211"/>
                  <a:gd name="T27" fmla="*/ 8 h 344"/>
                  <a:gd name="T28" fmla="*/ 127 w 211"/>
                  <a:gd name="T29" fmla="*/ 24 h 344"/>
                  <a:gd name="T30" fmla="*/ 101 w 211"/>
                  <a:gd name="T31" fmla="*/ 40 h 344"/>
                  <a:gd name="T32" fmla="*/ 76 w 211"/>
                  <a:gd name="T33" fmla="*/ 48 h 344"/>
                  <a:gd name="T34" fmla="*/ 51 w 211"/>
                  <a:gd name="T35" fmla="*/ 56 h 344"/>
                  <a:gd name="T36" fmla="*/ 34 w 211"/>
                  <a:gd name="T37" fmla="*/ 72 h 344"/>
                  <a:gd name="T38" fmla="*/ 26 w 211"/>
                  <a:gd name="T39" fmla="*/ 96 h 344"/>
                  <a:gd name="T40" fmla="*/ 42 w 211"/>
                  <a:gd name="T41" fmla="*/ 112 h 344"/>
                  <a:gd name="T42" fmla="*/ 17 w 211"/>
                  <a:gd name="T43" fmla="*/ 120 h 344"/>
                  <a:gd name="T44" fmla="*/ 9 w 211"/>
                  <a:gd name="T45" fmla="*/ 144 h 344"/>
                  <a:gd name="T46" fmla="*/ 9 w 211"/>
                  <a:gd name="T47" fmla="*/ 168 h 344"/>
                  <a:gd name="T48" fmla="*/ 26 w 211"/>
                  <a:gd name="T49" fmla="*/ 192 h 344"/>
                  <a:gd name="T50" fmla="*/ 0 w 211"/>
                  <a:gd name="T51" fmla="*/ 208 h 344"/>
                  <a:gd name="T52" fmla="*/ 0 w 211"/>
                  <a:gd name="T53" fmla="*/ 224 h 344"/>
                  <a:gd name="T54" fmla="*/ 26 w 211"/>
                  <a:gd name="T55" fmla="*/ 272 h 344"/>
                  <a:gd name="T56" fmla="*/ 42 w 211"/>
                  <a:gd name="T57" fmla="*/ 256 h 344"/>
                  <a:gd name="T58" fmla="*/ 51 w 211"/>
                  <a:gd name="T59" fmla="*/ 304 h 344"/>
                  <a:gd name="T60" fmla="*/ 59 w 211"/>
                  <a:gd name="T61" fmla="*/ 328 h 344"/>
                  <a:gd name="T62" fmla="*/ 84 w 211"/>
                  <a:gd name="T63" fmla="*/ 336 h 344"/>
                  <a:gd name="T64" fmla="*/ 143 w 211"/>
                  <a:gd name="T65" fmla="*/ 344 h 34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11" h="344">
                    <a:moveTo>
                      <a:pt x="143" y="344"/>
                    </a:moveTo>
                    <a:lnTo>
                      <a:pt x="118" y="312"/>
                    </a:lnTo>
                    <a:lnTo>
                      <a:pt x="143" y="312"/>
                    </a:lnTo>
                    <a:lnTo>
                      <a:pt x="127" y="280"/>
                    </a:lnTo>
                    <a:lnTo>
                      <a:pt x="127" y="248"/>
                    </a:lnTo>
                    <a:lnTo>
                      <a:pt x="169" y="184"/>
                    </a:lnTo>
                    <a:lnTo>
                      <a:pt x="186" y="192"/>
                    </a:lnTo>
                    <a:lnTo>
                      <a:pt x="211" y="136"/>
                    </a:lnTo>
                    <a:lnTo>
                      <a:pt x="177" y="112"/>
                    </a:lnTo>
                    <a:lnTo>
                      <a:pt x="169" y="72"/>
                    </a:lnTo>
                    <a:lnTo>
                      <a:pt x="177" y="24"/>
                    </a:lnTo>
                    <a:lnTo>
                      <a:pt x="177" y="8"/>
                    </a:lnTo>
                    <a:lnTo>
                      <a:pt x="160" y="0"/>
                    </a:lnTo>
                    <a:lnTo>
                      <a:pt x="135" y="8"/>
                    </a:lnTo>
                    <a:lnTo>
                      <a:pt x="127" y="24"/>
                    </a:lnTo>
                    <a:lnTo>
                      <a:pt x="101" y="40"/>
                    </a:lnTo>
                    <a:lnTo>
                      <a:pt x="76" y="48"/>
                    </a:lnTo>
                    <a:lnTo>
                      <a:pt x="51" y="56"/>
                    </a:lnTo>
                    <a:lnTo>
                      <a:pt x="34" y="72"/>
                    </a:lnTo>
                    <a:lnTo>
                      <a:pt x="26" y="96"/>
                    </a:lnTo>
                    <a:lnTo>
                      <a:pt x="42" y="112"/>
                    </a:lnTo>
                    <a:lnTo>
                      <a:pt x="17" y="120"/>
                    </a:lnTo>
                    <a:lnTo>
                      <a:pt x="9" y="144"/>
                    </a:lnTo>
                    <a:lnTo>
                      <a:pt x="9" y="168"/>
                    </a:lnTo>
                    <a:lnTo>
                      <a:pt x="26" y="192"/>
                    </a:lnTo>
                    <a:lnTo>
                      <a:pt x="0" y="208"/>
                    </a:lnTo>
                    <a:lnTo>
                      <a:pt x="0" y="224"/>
                    </a:lnTo>
                    <a:lnTo>
                      <a:pt x="26" y="272"/>
                    </a:lnTo>
                    <a:lnTo>
                      <a:pt x="42" y="256"/>
                    </a:lnTo>
                    <a:lnTo>
                      <a:pt x="51" y="304"/>
                    </a:lnTo>
                    <a:lnTo>
                      <a:pt x="59" y="328"/>
                    </a:lnTo>
                    <a:lnTo>
                      <a:pt x="84" y="336"/>
                    </a:lnTo>
                    <a:lnTo>
                      <a:pt x="143" y="34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41">
                <a:extLst>
                  <a:ext uri="{FF2B5EF4-FFF2-40B4-BE49-F238E27FC236}">
                    <a16:creationId xmlns:a16="http://schemas.microsoft.com/office/drawing/2014/main" id="{61FF085E-7B5A-51F1-4B9D-7CBF47DB9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2076" y="3644462"/>
                <a:ext cx="1047049" cy="1239706"/>
              </a:xfrm>
              <a:custGeom>
                <a:avLst/>
                <a:gdLst>
                  <a:gd name="T0" fmla="*/ 228 w 750"/>
                  <a:gd name="T1" fmla="*/ 848 h 888"/>
                  <a:gd name="T2" fmla="*/ 354 w 750"/>
                  <a:gd name="T3" fmla="*/ 888 h 888"/>
                  <a:gd name="T4" fmla="*/ 447 w 750"/>
                  <a:gd name="T5" fmla="*/ 880 h 888"/>
                  <a:gd name="T6" fmla="*/ 557 w 750"/>
                  <a:gd name="T7" fmla="*/ 848 h 888"/>
                  <a:gd name="T8" fmla="*/ 616 w 750"/>
                  <a:gd name="T9" fmla="*/ 832 h 888"/>
                  <a:gd name="T10" fmla="*/ 632 w 750"/>
                  <a:gd name="T11" fmla="*/ 776 h 888"/>
                  <a:gd name="T12" fmla="*/ 675 w 750"/>
                  <a:gd name="T13" fmla="*/ 744 h 888"/>
                  <a:gd name="T14" fmla="*/ 607 w 750"/>
                  <a:gd name="T15" fmla="*/ 656 h 888"/>
                  <a:gd name="T16" fmla="*/ 557 w 750"/>
                  <a:gd name="T17" fmla="*/ 584 h 888"/>
                  <a:gd name="T18" fmla="*/ 557 w 750"/>
                  <a:gd name="T19" fmla="*/ 520 h 888"/>
                  <a:gd name="T20" fmla="*/ 641 w 750"/>
                  <a:gd name="T21" fmla="*/ 488 h 888"/>
                  <a:gd name="T22" fmla="*/ 691 w 750"/>
                  <a:gd name="T23" fmla="*/ 440 h 888"/>
                  <a:gd name="T24" fmla="*/ 750 w 750"/>
                  <a:gd name="T25" fmla="*/ 456 h 888"/>
                  <a:gd name="T26" fmla="*/ 725 w 750"/>
                  <a:gd name="T27" fmla="*/ 360 h 888"/>
                  <a:gd name="T28" fmla="*/ 717 w 750"/>
                  <a:gd name="T29" fmla="*/ 280 h 888"/>
                  <a:gd name="T30" fmla="*/ 666 w 750"/>
                  <a:gd name="T31" fmla="*/ 216 h 888"/>
                  <a:gd name="T32" fmla="*/ 683 w 750"/>
                  <a:gd name="T33" fmla="*/ 136 h 888"/>
                  <a:gd name="T34" fmla="*/ 641 w 750"/>
                  <a:gd name="T35" fmla="*/ 80 h 888"/>
                  <a:gd name="T36" fmla="*/ 616 w 750"/>
                  <a:gd name="T37" fmla="*/ 32 h 888"/>
                  <a:gd name="T38" fmla="*/ 582 w 750"/>
                  <a:gd name="T39" fmla="*/ 32 h 888"/>
                  <a:gd name="T40" fmla="*/ 557 w 750"/>
                  <a:gd name="T41" fmla="*/ 40 h 888"/>
                  <a:gd name="T42" fmla="*/ 540 w 750"/>
                  <a:gd name="T43" fmla="*/ 40 h 888"/>
                  <a:gd name="T44" fmla="*/ 481 w 750"/>
                  <a:gd name="T45" fmla="*/ 72 h 888"/>
                  <a:gd name="T46" fmla="*/ 439 w 750"/>
                  <a:gd name="T47" fmla="*/ 96 h 888"/>
                  <a:gd name="T48" fmla="*/ 430 w 750"/>
                  <a:gd name="T49" fmla="*/ 64 h 888"/>
                  <a:gd name="T50" fmla="*/ 396 w 750"/>
                  <a:gd name="T51" fmla="*/ 56 h 888"/>
                  <a:gd name="T52" fmla="*/ 346 w 750"/>
                  <a:gd name="T53" fmla="*/ 16 h 888"/>
                  <a:gd name="T54" fmla="*/ 253 w 750"/>
                  <a:gd name="T55" fmla="*/ 0 h 888"/>
                  <a:gd name="T56" fmla="*/ 245 w 750"/>
                  <a:gd name="T57" fmla="*/ 40 h 888"/>
                  <a:gd name="T58" fmla="*/ 278 w 750"/>
                  <a:gd name="T59" fmla="*/ 112 h 888"/>
                  <a:gd name="T60" fmla="*/ 236 w 750"/>
                  <a:gd name="T61" fmla="*/ 112 h 888"/>
                  <a:gd name="T62" fmla="*/ 220 w 750"/>
                  <a:gd name="T63" fmla="*/ 136 h 888"/>
                  <a:gd name="T64" fmla="*/ 186 w 750"/>
                  <a:gd name="T65" fmla="*/ 128 h 888"/>
                  <a:gd name="T66" fmla="*/ 110 w 750"/>
                  <a:gd name="T67" fmla="*/ 144 h 888"/>
                  <a:gd name="T68" fmla="*/ 118 w 750"/>
                  <a:gd name="T69" fmla="*/ 208 h 888"/>
                  <a:gd name="T70" fmla="*/ 76 w 750"/>
                  <a:gd name="T71" fmla="*/ 256 h 888"/>
                  <a:gd name="T72" fmla="*/ 93 w 750"/>
                  <a:gd name="T73" fmla="*/ 312 h 888"/>
                  <a:gd name="T74" fmla="*/ 68 w 750"/>
                  <a:gd name="T75" fmla="*/ 344 h 888"/>
                  <a:gd name="T76" fmla="*/ 17 w 750"/>
                  <a:gd name="T77" fmla="*/ 384 h 888"/>
                  <a:gd name="T78" fmla="*/ 0 w 750"/>
                  <a:gd name="T79" fmla="*/ 448 h 888"/>
                  <a:gd name="T80" fmla="*/ 9 w 750"/>
                  <a:gd name="T81" fmla="*/ 480 h 888"/>
                  <a:gd name="T82" fmla="*/ 34 w 750"/>
                  <a:gd name="T83" fmla="*/ 536 h 888"/>
                  <a:gd name="T84" fmla="*/ 9 w 750"/>
                  <a:gd name="T85" fmla="*/ 552 h 888"/>
                  <a:gd name="T86" fmla="*/ 43 w 750"/>
                  <a:gd name="T87" fmla="*/ 600 h 888"/>
                  <a:gd name="T88" fmla="*/ 51 w 750"/>
                  <a:gd name="T89" fmla="*/ 664 h 888"/>
                  <a:gd name="T90" fmla="*/ 135 w 750"/>
                  <a:gd name="T91" fmla="*/ 688 h 888"/>
                  <a:gd name="T92" fmla="*/ 152 w 750"/>
                  <a:gd name="T93" fmla="*/ 736 h 888"/>
                  <a:gd name="T94" fmla="*/ 127 w 750"/>
                  <a:gd name="T95" fmla="*/ 864 h 888"/>
                  <a:gd name="T96" fmla="*/ 144 w 750"/>
                  <a:gd name="T97" fmla="*/ 872 h 88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50" h="888">
                    <a:moveTo>
                      <a:pt x="194" y="864"/>
                    </a:moveTo>
                    <a:lnTo>
                      <a:pt x="228" y="848"/>
                    </a:lnTo>
                    <a:lnTo>
                      <a:pt x="312" y="872"/>
                    </a:lnTo>
                    <a:lnTo>
                      <a:pt x="354" y="888"/>
                    </a:lnTo>
                    <a:lnTo>
                      <a:pt x="388" y="872"/>
                    </a:lnTo>
                    <a:lnTo>
                      <a:pt x="447" y="880"/>
                    </a:lnTo>
                    <a:lnTo>
                      <a:pt x="489" y="872"/>
                    </a:lnTo>
                    <a:lnTo>
                      <a:pt x="557" y="848"/>
                    </a:lnTo>
                    <a:lnTo>
                      <a:pt x="616" y="864"/>
                    </a:lnTo>
                    <a:lnTo>
                      <a:pt x="616" y="832"/>
                    </a:lnTo>
                    <a:lnTo>
                      <a:pt x="599" y="800"/>
                    </a:lnTo>
                    <a:lnTo>
                      <a:pt x="632" y="776"/>
                    </a:lnTo>
                    <a:lnTo>
                      <a:pt x="641" y="744"/>
                    </a:lnTo>
                    <a:lnTo>
                      <a:pt x="675" y="744"/>
                    </a:lnTo>
                    <a:lnTo>
                      <a:pt x="683" y="712"/>
                    </a:lnTo>
                    <a:lnTo>
                      <a:pt x="607" y="656"/>
                    </a:lnTo>
                    <a:lnTo>
                      <a:pt x="548" y="608"/>
                    </a:lnTo>
                    <a:lnTo>
                      <a:pt x="557" y="584"/>
                    </a:lnTo>
                    <a:lnTo>
                      <a:pt x="523" y="544"/>
                    </a:lnTo>
                    <a:lnTo>
                      <a:pt x="557" y="520"/>
                    </a:lnTo>
                    <a:lnTo>
                      <a:pt x="599" y="512"/>
                    </a:lnTo>
                    <a:lnTo>
                      <a:pt x="641" y="488"/>
                    </a:lnTo>
                    <a:lnTo>
                      <a:pt x="683" y="472"/>
                    </a:lnTo>
                    <a:lnTo>
                      <a:pt x="691" y="440"/>
                    </a:lnTo>
                    <a:lnTo>
                      <a:pt x="725" y="440"/>
                    </a:lnTo>
                    <a:lnTo>
                      <a:pt x="750" y="456"/>
                    </a:lnTo>
                    <a:lnTo>
                      <a:pt x="750" y="392"/>
                    </a:lnTo>
                    <a:lnTo>
                      <a:pt x="725" y="360"/>
                    </a:lnTo>
                    <a:lnTo>
                      <a:pt x="742" y="320"/>
                    </a:lnTo>
                    <a:lnTo>
                      <a:pt x="717" y="280"/>
                    </a:lnTo>
                    <a:lnTo>
                      <a:pt x="717" y="248"/>
                    </a:lnTo>
                    <a:lnTo>
                      <a:pt x="666" y="216"/>
                    </a:lnTo>
                    <a:lnTo>
                      <a:pt x="691" y="168"/>
                    </a:lnTo>
                    <a:lnTo>
                      <a:pt x="683" y="136"/>
                    </a:lnTo>
                    <a:lnTo>
                      <a:pt x="675" y="88"/>
                    </a:lnTo>
                    <a:lnTo>
                      <a:pt x="641" y="80"/>
                    </a:lnTo>
                    <a:lnTo>
                      <a:pt x="607" y="64"/>
                    </a:lnTo>
                    <a:lnTo>
                      <a:pt x="616" y="32"/>
                    </a:lnTo>
                    <a:lnTo>
                      <a:pt x="590" y="16"/>
                    </a:lnTo>
                    <a:lnTo>
                      <a:pt x="582" y="32"/>
                    </a:lnTo>
                    <a:lnTo>
                      <a:pt x="573" y="48"/>
                    </a:lnTo>
                    <a:lnTo>
                      <a:pt x="557" y="40"/>
                    </a:lnTo>
                    <a:lnTo>
                      <a:pt x="548" y="40"/>
                    </a:lnTo>
                    <a:lnTo>
                      <a:pt x="540" y="40"/>
                    </a:lnTo>
                    <a:lnTo>
                      <a:pt x="514" y="64"/>
                    </a:lnTo>
                    <a:lnTo>
                      <a:pt x="481" y="72"/>
                    </a:lnTo>
                    <a:lnTo>
                      <a:pt x="464" y="96"/>
                    </a:lnTo>
                    <a:lnTo>
                      <a:pt x="439" y="96"/>
                    </a:lnTo>
                    <a:lnTo>
                      <a:pt x="413" y="88"/>
                    </a:lnTo>
                    <a:lnTo>
                      <a:pt x="430" y="64"/>
                    </a:lnTo>
                    <a:lnTo>
                      <a:pt x="422" y="32"/>
                    </a:lnTo>
                    <a:lnTo>
                      <a:pt x="396" y="56"/>
                    </a:lnTo>
                    <a:lnTo>
                      <a:pt x="346" y="40"/>
                    </a:lnTo>
                    <a:lnTo>
                      <a:pt x="346" y="16"/>
                    </a:lnTo>
                    <a:lnTo>
                      <a:pt x="337" y="8"/>
                    </a:lnTo>
                    <a:lnTo>
                      <a:pt x="253" y="0"/>
                    </a:lnTo>
                    <a:lnTo>
                      <a:pt x="270" y="24"/>
                    </a:lnTo>
                    <a:lnTo>
                      <a:pt x="245" y="40"/>
                    </a:lnTo>
                    <a:lnTo>
                      <a:pt x="245" y="64"/>
                    </a:lnTo>
                    <a:lnTo>
                      <a:pt x="278" y="112"/>
                    </a:lnTo>
                    <a:lnTo>
                      <a:pt x="253" y="112"/>
                    </a:lnTo>
                    <a:lnTo>
                      <a:pt x="236" y="112"/>
                    </a:lnTo>
                    <a:lnTo>
                      <a:pt x="228" y="128"/>
                    </a:lnTo>
                    <a:lnTo>
                      <a:pt x="220" y="136"/>
                    </a:lnTo>
                    <a:lnTo>
                      <a:pt x="211" y="136"/>
                    </a:lnTo>
                    <a:lnTo>
                      <a:pt x="186" y="128"/>
                    </a:lnTo>
                    <a:lnTo>
                      <a:pt x="135" y="128"/>
                    </a:lnTo>
                    <a:lnTo>
                      <a:pt x="110" y="144"/>
                    </a:lnTo>
                    <a:lnTo>
                      <a:pt x="110" y="168"/>
                    </a:lnTo>
                    <a:lnTo>
                      <a:pt x="118" y="208"/>
                    </a:lnTo>
                    <a:lnTo>
                      <a:pt x="102" y="248"/>
                    </a:lnTo>
                    <a:lnTo>
                      <a:pt x="76" y="256"/>
                    </a:lnTo>
                    <a:lnTo>
                      <a:pt x="102" y="280"/>
                    </a:lnTo>
                    <a:lnTo>
                      <a:pt x="93" y="312"/>
                    </a:lnTo>
                    <a:lnTo>
                      <a:pt x="68" y="320"/>
                    </a:lnTo>
                    <a:lnTo>
                      <a:pt x="68" y="344"/>
                    </a:lnTo>
                    <a:lnTo>
                      <a:pt x="17" y="352"/>
                    </a:lnTo>
                    <a:lnTo>
                      <a:pt x="17" y="384"/>
                    </a:lnTo>
                    <a:lnTo>
                      <a:pt x="17" y="432"/>
                    </a:lnTo>
                    <a:lnTo>
                      <a:pt x="0" y="448"/>
                    </a:lnTo>
                    <a:lnTo>
                      <a:pt x="0" y="472"/>
                    </a:lnTo>
                    <a:lnTo>
                      <a:pt x="9" y="480"/>
                    </a:lnTo>
                    <a:lnTo>
                      <a:pt x="34" y="504"/>
                    </a:lnTo>
                    <a:lnTo>
                      <a:pt x="34" y="536"/>
                    </a:lnTo>
                    <a:lnTo>
                      <a:pt x="17" y="552"/>
                    </a:lnTo>
                    <a:lnTo>
                      <a:pt x="9" y="552"/>
                    </a:lnTo>
                    <a:lnTo>
                      <a:pt x="9" y="576"/>
                    </a:lnTo>
                    <a:lnTo>
                      <a:pt x="43" y="600"/>
                    </a:lnTo>
                    <a:lnTo>
                      <a:pt x="26" y="632"/>
                    </a:lnTo>
                    <a:lnTo>
                      <a:pt x="51" y="664"/>
                    </a:lnTo>
                    <a:lnTo>
                      <a:pt x="76" y="672"/>
                    </a:lnTo>
                    <a:lnTo>
                      <a:pt x="135" y="688"/>
                    </a:lnTo>
                    <a:lnTo>
                      <a:pt x="186" y="704"/>
                    </a:lnTo>
                    <a:lnTo>
                      <a:pt x="152" y="736"/>
                    </a:lnTo>
                    <a:lnTo>
                      <a:pt x="144" y="776"/>
                    </a:lnTo>
                    <a:lnTo>
                      <a:pt x="127" y="864"/>
                    </a:lnTo>
                    <a:lnTo>
                      <a:pt x="118" y="864"/>
                    </a:lnTo>
                    <a:lnTo>
                      <a:pt x="144" y="872"/>
                    </a:lnTo>
                    <a:lnTo>
                      <a:pt x="194" y="86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42">
                <a:extLst>
                  <a:ext uri="{FF2B5EF4-FFF2-40B4-BE49-F238E27FC236}">
                    <a16:creationId xmlns:a16="http://schemas.microsoft.com/office/drawing/2014/main" id="{284802DD-6BF3-98A3-1EEC-8E5BCC73B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5933" y="3169800"/>
                <a:ext cx="294569" cy="480246"/>
              </a:xfrm>
              <a:custGeom>
                <a:avLst/>
                <a:gdLst>
                  <a:gd name="T0" fmla="*/ 143 w 211"/>
                  <a:gd name="T1" fmla="*/ 344 h 344"/>
                  <a:gd name="T2" fmla="*/ 118 w 211"/>
                  <a:gd name="T3" fmla="*/ 312 h 344"/>
                  <a:gd name="T4" fmla="*/ 143 w 211"/>
                  <a:gd name="T5" fmla="*/ 312 h 344"/>
                  <a:gd name="T6" fmla="*/ 127 w 211"/>
                  <a:gd name="T7" fmla="*/ 280 h 344"/>
                  <a:gd name="T8" fmla="*/ 127 w 211"/>
                  <a:gd name="T9" fmla="*/ 248 h 344"/>
                  <a:gd name="T10" fmla="*/ 169 w 211"/>
                  <a:gd name="T11" fmla="*/ 184 h 344"/>
                  <a:gd name="T12" fmla="*/ 186 w 211"/>
                  <a:gd name="T13" fmla="*/ 192 h 344"/>
                  <a:gd name="T14" fmla="*/ 211 w 211"/>
                  <a:gd name="T15" fmla="*/ 136 h 344"/>
                  <a:gd name="T16" fmla="*/ 177 w 211"/>
                  <a:gd name="T17" fmla="*/ 112 h 344"/>
                  <a:gd name="T18" fmla="*/ 169 w 211"/>
                  <a:gd name="T19" fmla="*/ 72 h 344"/>
                  <a:gd name="T20" fmla="*/ 177 w 211"/>
                  <a:gd name="T21" fmla="*/ 24 h 344"/>
                  <a:gd name="T22" fmla="*/ 177 w 211"/>
                  <a:gd name="T23" fmla="*/ 8 h 344"/>
                  <a:gd name="T24" fmla="*/ 160 w 211"/>
                  <a:gd name="T25" fmla="*/ 0 h 344"/>
                  <a:gd name="T26" fmla="*/ 135 w 211"/>
                  <a:gd name="T27" fmla="*/ 8 h 344"/>
                  <a:gd name="T28" fmla="*/ 127 w 211"/>
                  <a:gd name="T29" fmla="*/ 24 h 344"/>
                  <a:gd name="T30" fmla="*/ 101 w 211"/>
                  <a:gd name="T31" fmla="*/ 40 h 344"/>
                  <a:gd name="T32" fmla="*/ 76 w 211"/>
                  <a:gd name="T33" fmla="*/ 48 h 344"/>
                  <a:gd name="T34" fmla="*/ 51 w 211"/>
                  <a:gd name="T35" fmla="*/ 56 h 344"/>
                  <a:gd name="T36" fmla="*/ 34 w 211"/>
                  <a:gd name="T37" fmla="*/ 72 h 344"/>
                  <a:gd name="T38" fmla="*/ 26 w 211"/>
                  <a:gd name="T39" fmla="*/ 96 h 344"/>
                  <a:gd name="T40" fmla="*/ 42 w 211"/>
                  <a:gd name="T41" fmla="*/ 112 h 344"/>
                  <a:gd name="T42" fmla="*/ 17 w 211"/>
                  <a:gd name="T43" fmla="*/ 120 h 344"/>
                  <a:gd name="T44" fmla="*/ 9 w 211"/>
                  <a:gd name="T45" fmla="*/ 144 h 344"/>
                  <a:gd name="T46" fmla="*/ 9 w 211"/>
                  <a:gd name="T47" fmla="*/ 168 h 344"/>
                  <a:gd name="T48" fmla="*/ 26 w 211"/>
                  <a:gd name="T49" fmla="*/ 192 h 344"/>
                  <a:gd name="T50" fmla="*/ 0 w 211"/>
                  <a:gd name="T51" fmla="*/ 208 h 344"/>
                  <a:gd name="T52" fmla="*/ 0 w 211"/>
                  <a:gd name="T53" fmla="*/ 224 h 344"/>
                  <a:gd name="T54" fmla="*/ 26 w 211"/>
                  <a:gd name="T55" fmla="*/ 272 h 344"/>
                  <a:gd name="T56" fmla="*/ 42 w 211"/>
                  <a:gd name="T57" fmla="*/ 256 h 344"/>
                  <a:gd name="T58" fmla="*/ 51 w 211"/>
                  <a:gd name="T59" fmla="*/ 304 h 344"/>
                  <a:gd name="T60" fmla="*/ 59 w 211"/>
                  <a:gd name="T61" fmla="*/ 328 h 344"/>
                  <a:gd name="T62" fmla="*/ 84 w 211"/>
                  <a:gd name="T63" fmla="*/ 336 h 344"/>
                  <a:gd name="T64" fmla="*/ 143 w 211"/>
                  <a:gd name="T65" fmla="*/ 344 h 34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11" h="344">
                    <a:moveTo>
                      <a:pt x="143" y="344"/>
                    </a:moveTo>
                    <a:lnTo>
                      <a:pt x="118" y="312"/>
                    </a:lnTo>
                    <a:lnTo>
                      <a:pt x="143" y="312"/>
                    </a:lnTo>
                    <a:lnTo>
                      <a:pt x="127" y="280"/>
                    </a:lnTo>
                    <a:lnTo>
                      <a:pt x="127" y="248"/>
                    </a:lnTo>
                    <a:lnTo>
                      <a:pt x="169" y="184"/>
                    </a:lnTo>
                    <a:lnTo>
                      <a:pt x="186" y="192"/>
                    </a:lnTo>
                    <a:lnTo>
                      <a:pt x="211" y="136"/>
                    </a:lnTo>
                    <a:lnTo>
                      <a:pt x="177" y="112"/>
                    </a:lnTo>
                    <a:lnTo>
                      <a:pt x="169" y="72"/>
                    </a:lnTo>
                    <a:lnTo>
                      <a:pt x="177" y="24"/>
                    </a:lnTo>
                    <a:lnTo>
                      <a:pt x="177" y="8"/>
                    </a:lnTo>
                    <a:lnTo>
                      <a:pt x="160" y="0"/>
                    </a:lnTo>
                    <a:lnTo>
                      <a:pt x="135" y="8"/>
                    </a:lnTo>
                    <a:lnTo>
                      <a:pt x="127" y="24"/>
                    </a:lnTo>
                    <a:lnTo>
                      <a:pt x="101" y="40"/>
                    </a:lnTo>
                    <a:lnTo>
                      <a:pt x="76" y="48"/>
                    </a:lnTo>
                    <a:lnTo>
                      <a:pt x="51" y="56"/>
                    </a:lnTo>
                    <a:lnTo>
                      <a:pt x="34" y="72"/>
                    </a:lnTo>
                    <a:lnTo>
                      <a:pt x="26" y="96"/>
                    </a:lnTo>
                    <a:lnTo>
                      <a:pt x="42" y="112"/>
                    </a:lnTo>
                    <a:lnTo>
                      <a:pt x="17" y="120"/>
                    </a:lnTo>
                    <a:lnTo>
                      <a:pt x="9" y="144"/>
                    </a:lnTo>
                    <a:lnTo>
                      <a:pt x="9" y="168"/>
                    </a:lnTo>
                    <a:lnTo>
                      <a:pt x="26" y="192"/>
                    </a:lnTo>
                    <a:lnTo>
                      <a:pt x="0" y="208"/>
                    </a:lnTo>
                    <a:lnTo>
                      <a:pt x="0" y="224"/>
                    </a:lnTo>
                    <a:lnTo>
                      <a:pt x="26" y="272"/>
                    </a:lnTo>
                    <a:lnTo>
                      <a:pt x="42" y="256"/>
                    </a:lnTo>
                    <a:lnTo>
                      <a:pt x="51" y="304"/>
                    </a:lnTo>
                    <a:lnTo>
                      <a:pt x="59" y="328"/>
                    </a:lnTo>
                    <a:lnTo>
                      <a:pt x="84" y="336"/>
                    </a:lnTo>
                    <a:lnTo>
                      <a:pt x="143" y="34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43">
                <a:extLst>
                  <a:ext uri="{FF2B5EF4-FFF2-40B4-BE49-F238E27FC236}">
                    <a16:creationId xmlns:a16="http://schemas.microsoft.com/office/drawing/2014/main" id="{8219BF59-0625-4D98-8B91-F112C3891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5096" y="3638877"/>
                <a:ext cx="1047049" cy="1239706"/>
              </a:xfrm>
              <a:custGeom>
                <a:avLst/>
                <a:gdLst>
                  <a:gd name="T0" fmla="*/ 228 w 750"/>
                  <a:gd name="T1" fmla="*/ 848 h 888"/>
                  <a:gd name="T2" fmla="*/ 354 w 750"/>
                  <a:gd name="T3" fmla="*/ 888 h 888"/>
                  <a:gd name="T4" fmla="*/ 447 w 750"/>
                  <a:gd name="T5" fmla="*/ 880 h 888"/>
                  <a:gd name="T6" fmla="*/ 557 w 750"/>
                  <a:gd name="T7" fmla="*/ 848 h 888"/>
                  <a:gd name="T8" fmla="*/ 616 w 750"/>
                  <a:gd name="T9" fmla="*/ 832 h 888"/>
                  <a:gd name="T10" fmla="*/ 632 w 750"/>
                  <a:gd name="T11" fmla="*/ 776 h 888"/>
                  <a:gd name="T12" fmla="*/ 675 w 750"/>
                  <a:gd name="T13" fmla="*/ 744 h 888"/>
                  <a:gd name="T14" fmla="*/ 607 w 750"/>
                  <a:gd name="T15" fmla="*/ 656 h 888"/>
                  <a:gd name="T16" fmla="*/ 557 w 750"/>
                  <a:gd name="T17" fmla="*/ 584 h 888"/>
                  <a:gd name="T18" fmla="*/ 557 w 750"/>
                  <a:gd name="T19" fmla="*/ 520 h 888"/>
                  <a:gd name="T20" fmla="*/ 641 w 750"/>
                  <a:gd name="T21" fmla="*/ 488 h 888"/>
                  <a:gd name="T22" fmla="*/ 691 w 750"/>
                  <a:gd name="T23" fmla="*/ 440 h 888"/>
                  <a:gd name="T24" fmla="*/ 750 w 750"/>
                  <a:gd name="T25" fmla="*/ 456 h 888"/>
                  <a:gd name="T26" fmla="*/ 725 w 750"/>
                  <a:gd name="T27" fmla="*/ 360 h 888"/>
                  <a:gd name="T28" fmla="*/ 717 w 750"/>
                  <a:gd name="T29" fmla="*/ 280 h 888"/>
                  <a:gd name="T30" fmla="*/ 666 w 750"/>
                  <a:gd name="T31" fmla="*/ 216 h 888"/>
                  <a:gd name="T32" fmla="*/ 683 w 750"/>
                  <a:gd name="T33" fmla="*/ 136 h 888"/>
                  <a:gd name="T34" fmla="*/ 641 w 750"/>
                  <a:gd name="T35" fmla="*/ 80 h 888"/>
                  <a:gd name="T36" fmla="*/ 616 w 750"/>
                  <a:gd name="T37" fmla="*/ 32 h 888"/>
                  <a:gd name="T38" fmla="*/ 582 w 750"/>
                  <a:gd name="T39" fmla="*/ 32 h 888"/>
                  <a:gd name="T40" fmla="*/ 557 w 750"/>
                  <a:gd name="T41" fmla="*/ 40 h 888"/>
                  <a:gd name="T42" fmla="*/ 540 w 750"/>
                  <a:gd name="T43" fmla="*/ 40 h 888"/>
                  <a:gd name="T44" fmla="*/ 481 w 750"/>
                  <a:gd name="T45" fmla="*/ 72 h 888"/>
                  <a:gd name="T46" fmla="*/ 439 w 750"/>
                  <a:gd name="T47" fmla="*/ 96 h 888"/>
                  <a:gd name="T48" fmla="*/ 430 w 750"/>
                  <a:gd name="T49" fmla="*/ 64 h 888"/>
                  <a:gd name="T50" fmla="*/ 396 w 750"/>
                  <a:gd name="T51" fmla="*/ 56 h 888"/>
                  <a:gd name="T52" fmla="*/ 346 w 750"/>
                  <a:gd name="T53" fmla="*/ 16 h 888"/>
                  <a:gd name="T54" fmla="*/ 253 w 750"/>
                  <a:gd name="T55" fmla="*/ 0 h 888"/>
                  <a:gd name="T56" fmla="*/ 245 w 750"/>
                  <a:gd name="T57" fmla="*/ 40 h 888"/>
                  <a:gd name="T58" fmla="*/ 278 w 750"/>
                  <a:gd name="T59" fmla="*/ 112 h 888"/>
                  <a:gd name="T60" fmla="*/ 236 w 750"/>
                  <a:gd name="T61" fmla="*/ 112 h 888"/>
                  <a:gd name="T62" fmla="*/ 220 w 750"/>
                  <a:gd name="T63" fmla="*/ 136 h 888"/>
                  <a:gd name="T64" fmla="*/ 186 w 750"/>
                  <a:gd name="T65" fmla="*/ 128 h 888"/>
                  <a:gd name="T66" fmla="*/ 110 w 750"/>
                  <a:gd name="T67" fmla="*/ 144 h 888"/>
                  <a:gd name="T68" fmla="*/ 118 w 750"/>
                  <a:gd name="T69" fmla="*/ 208 h 888"/>
                  <a:gd name="T70" fmla="*/ 76 w 750"/>
                  <a:gd name="T71" fmla="*/ 256 h 888"/>
                  <a:gd name="T72" fmla="*/ 93 w 750"/>
                  <a:gd name="T73" fmla="*/ 312 h 888"/>
                  <a:gd name="T74" fmla="*/ 68 w 750"/>
                  <a:gd name="T75" fmla="*/ 344 h 888"/>
                  <a:gd name="T76" fmla="*/ 17 w 750"/>
                  <a:gd name="T77" fmla="*/ 384 h 888"/>
                  <a:gd name="T78" fmla="*/ 0 w 750"/>
                  <a:gd name="T79" fmla="*/ 448 h 888"/>
                  <a:gd name="T80" fmla="*/ 9 w 750"/>
                  <a:gd name="T81" fmla="*/ 480 h 888"/>
                  <a:gd name="T82" fmla="*/ 34 w 750"/>
                  <a:gd name="T83" fmla="*/ 536 h 888"/>
                  <a:gd name="T84" fmla="*/ 9 w 750"/>
                  <a:gd name="T85" fmla="*/ 552 h 888"/>
                  <a:gd name="T86" fmla="*/ 43 w 750"/>
                  <a:gd name="T87" fmla="*/ 600 h 888"/>
                  <a:gd name="T88" fmla="*/ 26 w 750"/>
                  <a:gd name="T89" fmla="*/ 632 h 888"/>
                  <a:gd name="T90" fmla="*/ 76 w 750"/>
                  <a:gd name="T91" fmla="*/ 672 h 888"/>
                  <a:gd name="T92" fmla="*/ 186 w 750"/>
                  <a:gd name="T93" fmla="*/ 704 h 888"/>
                  <a:gd name="T94" fmla="*/ 144 w 750"/>
                  <a:gd name="T95" fmla="*/ 776 h 888"/>
                  <a:gd name="T96" fmla="*/ 118 w 750"/>
                  <a:gd name="T97" fmla="*/ 864 h 888"/>
                  <a:gd name="T98" fmla="*/ 194 w 750"/>
                  <a:gd name="T99" fmla="*/ 864 h 8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750" h="888">
                    <a:moveTo>
                      <a:pt x="194" y="864"/>
                    </a:moveTo>
                    <a:lnTo>
                      <a:pt x="228" y="848"/>
                    </a:lnTo>
                    <a:lnTo>
                      <a:pt x="312" y="872"/>
                    </a:lnTo>
                    <a:lnTo>
                      <a:pt x="354" y="888"/>
                    </a:lnTo>
                    <a:lnTo>
                      <a:pt x="388" y="872"/>
                    </a:lnTo>
                    <a:lnTo>
                      <a:pt x="447" y="880"/>
                    </a:lnTo>
                    <a:lnTo>
                      <a:pt x="489" y="872"/>
                    </a:lnTo>
                    <a:lnTo>
                      <a:pt x="557" y="848"/>
                    </a:lnTo>
                    <a:lnTo>
                      <a:pt x="616" y="864"/>
                    </a:lnTo>
                    <a:lnTo>
                      <a:pt x="616" y="832"/>
                    </a:lnTo>
                    <a:lnTo>
                      <a:pt x="599" y="800"/>
                    </a:lnTo>
                    <a:lnTo>
                      <a:pt x="632" y="776"/>
                    </a:lnTo>
                    <a:lnTo>
                      <a:pt x="641" y="744"/>
                    </a:lnTo>
                    <a:lnTo>
                      <a:pt x="675" y="744"/>
                    </a:lnTo>
                    <a:lnTo>
                      <a:pt x="683" y="712"/>
                    </a:lnTo>
                    <a:lnTo>
                      <a:pt x="607" y="656"/>
                    </a:lnTo>
                    <a:lnTo>
                      <a:pt x="548" y="608"/>
                    </a:lnTo>
                    <a:lnTo>
                      <a:pt x="557" y="584"/>
                    </a:lnTo>
                    <a:lnTo>
                      <a:pt x="523" y="544"/>
                    </a:lnTo>
                    <a:lnTo>
                      <a:pt x="557" y="520"/>
                    </a:lnTo>
                    <a:lnTo>
                      <a:pt x="599" y="512"/>
                    </a:lnTo>
                    <a:lnTo>
                      <a:pt x="641" y="488"/>
                    </a:lnTo>
                    <a:lnTo>
                      <a:pt x="683" y="472"/>
                    </a:lnTo>
                    <a:lnTo>
                      <a:pt x="691" y="440"/>
                    </a:lnTo>
                    <a:lnTo>
                      <a:pt x="725" y="440"/>
                    </a:lnTo>
                    <a:lnTo>
                      <a:pt x="750" y="456"/>
                    </a:lnTo>
                    <a:lnTo>
                      <a:pt x="750" y="392"/>
                    </a:lnTo>
                    <a:lnTo>
                      <a:pt x="725" y="360"/>
                    </a:lnTo>
                    <a:lnTo>
                      <a:pt x="742" y="320"/>
                    </a:lnTo>
                    <a:lnTo>
                      <a:pt x="717" y="280"/>
                    </a:lnTo>
                    <a:lnTo>
                      <a:pt x="717" y="248"/>
                    </a:lnTo>
                    <a:lnTo>
                      <a:pt x="666" y="216"/>
                    </a:lnTo>
                    <a:lnTo>
                      <a:pt x="691" y="168"/>
                    </a:lnTo>
                    <a:lnTo>
                      <a:pt x="683" y="136"/>
                    </a:lnTo>
                    <a:lnTo>
                      <a:pt x="675" y="88"/>
                    </a:lnTo>
                    <a:lnTo>
                      <a:pt x="641" y="80"/>
                    </a:lnTo>
                    <a:lnTo>
                      <a:pt x="607" y="64"/>
                    </a:lnTo>
                    <a:lnTo>
                      <a:pt x="616" y="32"/>
                    </a:lnTo>
                    <a:lnTo>
                      <a:pt x="590" y="16"/>
                    </a:lnTo>
                    <a:lnTo>
                      <a:pt x="582" y="32"/>
                    </a:lnTo>
                    <a:lnTo>
                      <a:pt x="573" y="48"/>
                    </a:lnTo>
                    <a:lnTo>
                      <a:pt x="557" y="40"/>
                    </a:lnTo>
                    <a:lnTo>
                      <a:pt x="548" y="40"/>
                    </a:lnTo>
                    <a:lnTo>
                      <a:pt x="540" y="40"/>
                    </a:lnTo>
                    <a:lnTo>
                      <a:pt x="514" y="64"/>
                    </a:lnTo>
                    <a:lnTo>
                      <a:pt x="481" y="72"/>
                    </a:lnTo>
                    <a:lnTo>
                      <a:pt x="464" y="96"/>
                    </a:lnTo>
                    <a:lnTo>
                      <a:pt x="439" y="96"/>
                    </a:lnTo>
                    <a:lnTo>
                      <a:pt x="413" y="88"/>
                    </a:lnTo>
                    <a:lnTo>
                      <a:pt x="430" y="64"/>
                    </a:lnTo>
                    <a:lnTo>
                      <a:pt x="422" y="32"/>
                    </a:lnTo>
                    <a:lnTo>
                      <a:pt x="396" y="56"/>
                    </a:lnTo>
                    <a:lnTo>
                      <a:pt x="346" y="40"/>
                    </a:lnTo>
                    <a:lnTo>
                      <a:pt x="346" y="16"/>
                    </a:lnTo>
                    <a:lnTo>
                      <a:pt x="337" y="8"/>
                    </a:lnTo>
                    <a:lnTo>
                      <a:pt x="253" y="0"/>
                    </a:lnTo>
                    <a:lnTo>
                      <a:pt x="270" y="24"/>
                    </a:lnTo>
                    <a:lnTo>
                      <a:pt x="245" y="40"/>
                    </a:lnTo>
                    <a:lnTo>
                      <a:pt x="245" y="64"/>
                    </a:lnTo>
                    <a:lnTo>
                      <a:pt x="278" y="112"/>
                    </a:lnTo>
                    <a:lnTo>
                      <a:pt x="253" y="112"/>
                    </a:lnTo>
                    <a:lnTo>
                      <a:pt x="236" y="112"/>
                    </a:lnTo>
                    <a:lnTo>
                      <a:pt x="228" y="128"/>
                    </a:lnTo>
                    <a:lnTo>
                      <a:pt x="220" y="136"/>
                    </a:lnTo>
                    <a:lnTo>
                      <a:pt x="211" y="136"/>
                    </a:lnTo>
                    <a:lnTo>
                      <a:pt x="186" y="128"/>
                    </a:lnTo>
                    <a:lnTo>
                      <a:pt x="135" y="128"/>
                    </a:lnTo>
                    <a:lnTo>
                      <a:pt x="110" y="144"/>
                    </a:lnTo>
                    <a:lnTo>
                      <a:pt x="110" y="168"/>
                    </a:lnTo>
                    <a:lnTo>
                      <a:pt x="118" y="208"/>
                    </a:lnTo>
                    <a:lnTo>
                      <a:pt x="102" y="248"/>
                    </a:lnTo>
                    <a:lnTo>
                      <a:pt x="76" y="256"/>
                    </a:lnTo>
                    <a:lnTo>
                      <a:pt x="102" y="280"/>
                    </a:lnTo>
                    <a:lnTo>
                      <a:pt x="93" y="312"/>
                    </a:lnTo>
                    <a:lnTo>
                      <a:pt x="68" y="320"/>
                    </a:lnTo>
                    <a:lnTo>
                      <a:pt x="68" y="344"/>
                    </a:lnTo>
                    <a:lnTo>
                      <a:pt x="17" y="352"/>
                    </a:lnTo>
                    <a:lnTo>
                      <a:pt x="17" y="384"/>
                    </a:lnTo>
                    <a:lnTo>
                      <a:pt x="17" y="432"/>
                    </a:lnTo>
                    <a:lnTo>
                      <a:pt x="0" y="448"/>
                    </a:lnTo>
                    <a:lnTo>
                      <a:pt x="0" y="472"/>
                    </a:lnTo>
                    <a:lnTo>
                      <a:pt x="9" y="480"/>
                    </a:lnTo>
                    <a:lnTo>
                      <a:pt x="34" y="504"/>
                    </a:lnTo>
                    <a:lnTo>
                      <a:pt x="34" y="536"/>
                    </a:lnTo>
                    <a:lnTo>
                      <a:pt x="17" y="552"/>
                    </a:lnTo>
                    <a:lnTo>
                      <a:pt x="9" y="552"/>
                    </a:lnTo>
                    <a:lnTo>
                      <a:pt x="9" y="576"/>
                    </a:lnTo>
                    <a:lnTo>
                      <a:pt x="43" y="600"/>
                    </a:lnTo>
                    <a:lnTo>
                      <a:pt x="26" y="632"/>
                    </a:lnTo>
                    <a:lnTo>
                      <a:pt x="51" y="664"/>
                    </a:lnTo>
                    <a:lnTo>
                      <a:pt x="76" y="672"/>
                    </a:lnTo>
                    <a:lnTo>
                      <a:pt x="135" y="688"/>
                    </a:lnTo>
                    <a:lnTo>
                      <a:pt x="186" y="704"/>
                    </a:lnTo>
                    <a:lnTo>
                      <a:pt x="152" y="736"/>
                    </a:lnTo>
                    <a:lnTo>
                      <a:pt x="144" y="776"/>
                    </a:lnTo>
                    <a:lnTo>
                      <a:pt x="127" y="864"/>
                    </a:lnTo>
                    <a:lnTo>
                      <a:pt x="118" y="864"/>
                    </a:lnTo>
                    <a:lnTo>
                      <a:pt x="144" y="872"/>
                    </a:lnTo>
                    <a:lnTo>
                      <a:pt x="194" y="86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44">
                <a:extLst>
                  <a:ext uri="{FF2B5EF4-FFF2-40B4-BE49-F238E27FC236}">
                    <a16:creationId xmlns:a16="http://schemas.microsoft.com/office/drawing/2014/main" id="{EF86ED88-B6F0-403F-33BA-C710DD840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0195" y="4822740"/>
                <a:ext cx="587744" cy="323887"/>
              </a:xfrm>
              <a:custGeom>
                <a:avLst/>
                <a:gdLst>
                  <a:gd name="T0" fmla="*/ 371 w 421"/>
                  <a:gd name="T1" fmla="*/ 104 h 232"/>
                  <a:gd name="T2" fmla="*/ 354 w 421"/>
                  <a:gd name="T3" fmla="*/ 88 h 232"/>
                  <a:gd name="T4" fmla="*/ 329 w 421"/>
                  <a:gd name="T5" fmla="*/ 72 h 232"/>
                  <a:gd name="T6" fmla="*/ 337 w 421"/>
                  <a:gd name="T7" fmla="*/ 32 h 232"/>
                  <a:gd name="T8" fmla="*/ 337 w 421"/>
                  <a:gd name="T9" fmla="*/ 24 h 232"/>
                  <a:gd name="T10" fmla="*/ 253 w 421"/>
                  <a:gd name="T11" fmla="*/ 0 h 232"/>
                  <a:gd name="T12" fmla="*/ 219 w 421"/>
                  <a:gd name="T13" fmla="*/ 16 h 232"/>
                  <a:gd name="T14" fmla="*/ 169 w 421"/>
                  <a:gd name="T15" fmla="*/ 24 h 232"/>
                  <a:gd name="T16" fmla="*/ 143 w 421"/>
                  <a:gd name="T17" fmla="*/ 16 h 232"/>
                  <a:gd name="T18" fmla="*/ 118 w 421"/>
                  <a:gd name="T19" fmla="*/ 32 h 232"/>
                  <a:gd name="T20" fmla="*/ 84 w 421"/>
                  <a:gd name="T21" fmla="*/ 40 h 232"/>
                  <a:gd name="T22" fmla="*/ 76 w 421"/>
                  <a:gd name="T23" fmla="*/ 72 h 232"/>
                  <a:gd name="T24" fmla="*/ 51 w 421"/>
                  <a:gd name="T25" fmla="*/ 88 h 232"/>
                  <a:gd name="T26" fmla="*/ 42 w 421"/>
                  <a:gd name="T27" fmla="*/ 112 h 232"/>
                  <a:gd name="T28" fmla="*/ 9 w 421"/>
                  <a:gd name="T29" fmla="*/ 152 h 232"/>
                  <a:gd name="T30" fmla="*/ 0 w 421"/>
                  <a:gd name="T31" fmla="*/ 184 h 232"/>
                  <a:gd name="T32" fmla="*/ 34 w 421"/>
                  <a:gd name="T33" fmla="*/ 168 h 232"/>
                  <a:gd name="T34" fmla="*/ 76 w 421"/>
                  <a:gd name="T35" fmla="*/ 184 h 232"/>
                  <a:gd name="T36" fmla="*/ 84 w 421"/>
                  <a:gd name="T37" fmla="*/ 200 h 232"/>
                  <a:gd name="T38" fmla="*/ 101 w 421"/>
                  <a:gd name="T39" fmla="*/ 224 h 232"/>
                  <a:gd name="T40" fmla="*/ 177 w 421"/>
                  <a:gd name="T41" fmla="*/ 216 h 232"/>
                  <a:gd name="T42" fmla="*/ 219 w 421"/>
                  <a:gd name="T43" fmla="*/ 152 h 232"/>
                  <a:gd name="T44" fmla="*/ 287 w 421"/>
                  <a:gd name="T45" fmla="*/ 232 h 232"/>
                  <a:gd name="T46" fmla="*/ 312 w 421"/>
                  <a:gd name="T47" fmla="*/ 152 h 232"/>
                  <a:gd name="T48" fmla="*/ 354 w 421"/>
                  <a:gd name="T49" fmla="*/ 160 h 232"/>
                  <a:gd name="T50" fmla="*/ 379 w 421"/>
                  <a:gd name="T51" fmla="*/ 144 h 232"/>
                  <a:gd name="T52" fmla="*/ 413 w 421"/>
                  <a:gd name="T53" fmla="*/ 144 h 232"/>
                  <a:gd name="T54" fmla="*/ 421 w 421"/>
                  <a:gd name="T55" fmla="*/ 136 h 232"/>
                  <a:gd name="T56" fmla="*/ 413 w 421"/>
                  <a:gd name="T57" fmla="*/ 96 h 232"/>
                  <a:gd name="T58" fmla="*/ 371 w 421"/>
                  <a:gd name="T59" fmla="*/ 104 h 23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21" h="232">
                    <a:moveTo>
                      <a:pt x="371" y="104"/>
                    </a:moveTo>
                    <a:lnTo>
                      <a:pt x="354" y="88"/>
                    </a:lnTo>
                    <a:lnTo>
                      <a:pt x="329" y="72"/>
                    </a:lnTo>
                    <a:lnTo>
                      <a:pt x="337" y="32"/>
                    </a:lnTo>
                    <a:lnTo>
                      <a:pt x="337" y="24"/>
                    </a:lnTo>
                    <a:lnTo>
                      <a:pt x="253" y="0"/>
                    </a:lnTo>
                    <a:lnTo>
                      <a:pt x="219" y="16"/>
                    </a:lnTo>
                    <a:lnTo>
                      <a:pt x="169" y="24"/>
                    </a:lnTo>
                    <a:lnTo>
                      <a:pt x="143" y="16"/>
                    </a:lnTo>
                    <a:lnTo>
                      <a:pt x="118" y="32"/>
                    </a:lnTo>
                    <a:lnTo>
                      <a:pt x="84" y="40"/>
                    </a:lnTo>
                    <a:lnTo>
                      <a:pt x="76" y="72"/>
                    </a:lnTo>
                    <a:lnTo>
                      <a:pt x="51" y="88"/>
                    </a:lnTo>
                    <a:lnTo>
                      <a:pt x="42" y="112"/>
                    </a:lnTo>
                    <a:lnTo>
                      <a:pt x="9" y="152"/>
                    </a:lnTo>
                    <a:lnTo>
                      <a:pt x="0" y="184"/>
                    </a:lnTo>
                    <a:lnTo>
                      <a:pt x="34" y="168"/>
                    </a:lnTo>
                    <a:lnTo>
                      <a:pt x="76" y="184"/>
                    </a:lnTo>
                    <a:lnTo>
                      <a:pt x="84" y="200"/>
                    </a:lnTo>
                    <a:lnTo>
                      <a:pt x="101" y="224"/>
                    </a:lnTo>
                    <a:lnTo>
                      <a:pt x="177" y="216"/>
                    </a:lnTo>
                    <a:lnTo>
                      <a:pt x="219" y="152"/>
                    </a:lnTo>
                    <a:lnTo>
                      <a:pt x="287" y="232"/>
                    </a:lnTo>
                    <a:lnTo>
                      <a:pt x="312" y="152"/>
                    </a:lnTo>
                    <a:lnTo>
                      <a:pt x="354" y="160"/>
                    </a:lnTo>
                    <a:lnTo>
                      <a:pt x="379" y="144"/>
                    </a:lnTo>
                    <a:lnTo>
                      <a:pt x="413" y="144"/>
                    </a:lnTo>
                    <a:lnTo>
                      <a:pt x="421" y="136"/>
                    </a:lnTo>
                    <a:lnTo>
                      <a:pt x="413" y="96"/>
                    </a:lnTo>
                    <a:lnTo>
                      <a:pt x="371" y="10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45">
                <a:extLst>
                  <a:ext uri="{FF2B5EF4-FFF2-40B4-BE49-F238E27FC236}">
                    <a16:creationId xmlns:a16="http://schemas.microsoft.com/office/drawing/2014/main" id="{21009A17-F91A-AA91-3401-62B3A40AD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500" y="4588201"/>
                <a:ext cx="952116" cy="435573"/>
              </a:xfrm>
              <a:custGeom>
                <a:avLst/>
                <a:gdLst>
                  <a:gd name="T0" fmla="*/ 472 w 682"/>
                  <a:gd name="T1" fmla="*/ 304 h 312"/>
                  <a:gd name="T2" fmla="*/ 505 w 682"/>
                  <a:gd name="T3" fmla="*/ 280 h 312"/>
                  <a:gd name="T4" fmla="*/ 556 w 682"/>
                  <a:gd name="T5" fmla="*/ 280 h 312"/>
                  <a:gd name="T6" fmla="*/ 598 w 682"/>
                  <a:gd name="T7" fmla="*/ 272 h 312"/>
                  <a:gd name="T8" fmla="*/ 598 w 682"/>
                  <a:gd name="T9" fmla="*/ 248 h 312"/>
                  <a:gd name="T10" fmla="*/ 623 w 682"/>
                  <a:gd name="T11" fmla="*/ 224 h 312"/>
                  <a:gd name="T12" fmla="*/ 632 w 682"/>
                  <a:gd name="T13" fmla="*/ 184 h 312"/>
                  <a:gd name="T14" fmla="*/ 632 w 682"/>
                  <a:gd name="T15" fmla="*/ 144 h 312"/>
                  <a:gd name="T16" fmla="*/ 674 w 682"/>
                  <a:gd name="T17" fmla="*/ 128 h 312"/>
                  <a:gd name="T18" fmla="*/ 682 w 682"/>
                  <a:gd name="T19" fmla="*/ 96 h 312"/>
                  <a:gd name="T20" fmla="*/ 649 w 682"/>
                  <a:gd name="T21" fmla="*/ 72 h 312"/>
                  <a:gd name="T22" fmla="*/ 649 w 682"/>
                  <a:gd name="T23" fmla="*/ 24 h 312"/>
                  <a:gd name="T24" fmla="*/ 564 w 682"/>
                  <a:gd name="T25" fmla="*/ 24 h 312"/>
                  <a:gd name="T26" fmla="*/ 488 w 682"/>
                  <a:gd name="T27" fmla="*/ 0 h 312"/>
                  <a:gd name="T28" fmla="*/ 463 w 682"/>
                  <a:gd name="T29" fmla="*/ 48 h 312"/>
                  <a:gd name="T30" fmla="*/ 413 w 682"/>
                  <a:gd name="T31" fmla="*/ 64 h 312"/>
                  <a:gd name="T32" fmla="*/ 371 w 682"/>
                  <a:gd name="T33" fmla="*/ 40 h 312"/>
                  <a:gd name="T34" fmla="*/ 371 w 682"/>
                  <a:gd name="T35" fmla="*/ 64 h 312"/>
                  <a:gd name="T36" fmla="*/ 337 w 682"/>
                  <a:gd name="T37" fmla="*/ 64 h 312"/>
                  <a:gd name="T38" fmla="*/ 328 w 682"/>
                  <a:gd name="T39" fmla="*/ 96 h 312"/>
                  <a:gd name="T40" fmla="*/ 295 w 682"/>
                  <a:gd name="T41" fmla="*/ 120 h 312"/>
                  <a:gd name="T42" fmla="*/ 312 w 682"/>
                  <a:gd name="T43" fmla="*/ 152 h 312"/>
                  <a:gd name="T44" fmla="*/ 312 w 682"/>
                  <a:gd name="T45" fmla="*/ 184 h 312"/>
                  <a:gd name="T46" fmla="*/ 253 w 682"/>
                  <a:gd name="T47" fmla="*/ 168 h 312"/>
                  <a:gd name="T48" fmla="*/ 185 w 682"/>
                  <a:gd name="T49" fmla="*/ 192 h 312"/>
                  <a:gd name="T50" fmla="*/ 143 w 682"/>
                  <a:gd name="T51" fmla="*/ 200 h 312"/>
                  <a:gd name="T52" fmla="*/ 84 w 682"/>
                  <a:gd name="T53" fmla="*/ 192 h 312"/>
                  <a:gd name="T54" fmla="*/ 50 w 682"/>
                  <a:gd name="T55" fmla="*/ 208 h 312"/>
                  <a:gd name="T56" fmla="*/ 8 w 682"/>
                  <a:gd name="T57" fmla="*/ 200 h 312"/>
                  <a:gd name="T58" fmla="*/ 0 w 682"/>
                  <a:gd name="T59" fmla="*/ 240 h 312"/>
                  <a:gd name="T60" fmla="*/ 25 w 682"/>
                  <a:gd name="T61" fmla="*/ 256 h 312"/>
                  <a:gd name="T62" fmla="*/ 42 w 682"/>
                  <a:gd name="T63" fmla="*/ 272 h 312"/>
                  <a:gd name="T64" fmla="*/ 84 w 682"/>
                  <a:gd name="T65" fmla="*/ 264 h 312"/>
                  <a:gd name="T66" fmla="*/ 92 w 682"/>
                  <a:gd name="T67" fmla="*/ 304 h 312"/>
                  <a:gd name="T68" fmla="*/ 101 w 682"/>
                  <a:gd name="T69" fmla="*/ 280 h 312"/>
                  <a:gd name="T70" fmla="*/ 135 w 682"/>
                  <a:gd name="T71" fmla="*/ 288 h 312"/>
                  <a:gd name="T72" fmla="*/ 168 w 682"/>
                  <a:gd name="T73" fmla="*/ 256 h 312"/>
                  <a:gd name="T74" fmla="*/ 244 w 682"/>
                  <a:gd name="T75" fmla="*/ 248 h 312"/>
                  <a:gd name="T76" fmla="*/ 261 w 682"/>
                  <a:gd name="T77" fmla="*/ 272 h 312"/>
                  <a:gd name="T78" fmla="*/ 379 w 682"/>
                  <a:gd name="T79" fmla="*/ 304 h 312"/>
                  <a:gd name="T80" fmla="*/ 379 w 682"/>
                  <a:gd name="T81" fmla="*/ 312 h 312"/>
                  <a:gd name="T82" fmla="*/ 413 w 682"/>
                  <a:gd name="T83" fmla="*/ 304 h 312"/>
                  <a:gd name="T84" fmla="*/ 472 w 682"/>
                  <a:gd name="T85" fmla="*/ 304 h 31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682" h="312">
                    <a:moveTo>
                      <a:pt x="472" y="304"/>
                    </a:moveTo>
                    <a:lnTo>
                      <a:pt x="505" y="280"/>
                    </a:lnTo>
                    <a:lnTo>
                      <a:pt x="556" y="280"/>
                    </a:lnTo>
                    <a:lnTo>
                      <a:pt x="598" y="272"/>
                    </a:lnTo>
                    <a:lnTo>
                      <a:pt x="598" y="248"/>
                    </a:lnTo>
                    <a:lnTo>
                      <a:pt x="623" y="224"/>
                    </a:lnTo>
                    <a:lnTo>
                      <a:pt x="632" y="184"/>
                    </a:lnTo>
                    <a:lnTo>
                      <a:pt x="632" y="144"/>
                    </a:lnTo>
                    <a:lnTo>
                      <a:pt x="674" y="128"/>
                    </a:lnTo>
                    <a:lnTo>
                      <a:pt x="682" y="96"/>
                    </a:lnTo>
                    <a:lnTo>
                      <a:pt x="649" y="72"/>
                    </a:lnTo>
                    <a:lnTo>
                      <a:pt x="649" y="24"/>
                    </a:lnTo>
                    <a:lnTo>
                      <a:pt x="564" y="24"/>
                    </a:lnTo>
                    <a:lnTo>
                      <a:pt x="488" y="0"/>
                    </a:lnTo>
                    <a:lnTo>
                      <a:pt x="463" y="48"/>
                    </a:lnTo>
                    <a:lnTo>
                      <a:pt x="413" y="64"/>
                    </a:lnTo>
                    <a:lnTo>
                      <a:pt x="371" y="40"/>
                    </a:lnTo>
                    <a:lnTo>
                      <a:pt x="371" y="64"/>
                    </a:lnTo>
                    <a:lnTo>
                      <a:pt x="337" y="64"/>
                    </a:lnTo>
                    <a:lnTo>
                      <a:pt x="328" y="96"/>
                    </a:lnTo>
                    <a:lnTo>
                      <a:pt x="295" y="120"/>
                    </a:lnTo>
                    <a:lnTo>
                      <a:pt x="312" y="152"/>
                    </a:lnTo>
                    <a:lnTo>
                      <a:pt x="312" y="184"/>
                    </a:lnTo>
                    <a:lnTo>
                      <a:pt x="253" y="168"/>
                    </a:lnTo>
                    <a:lnTo>
                      <a:pt x="185" y="192"/>
                    </a:lnTo>
                    <a:lnTo>
                      <a:pt x="143" y="200"/>
                    </a:lnTo>
                    <a:lnTo>
                      <a:pt x="84" y="192"/>
                    </a:lnTo>
                    <a:lnTo>
                      <a:pt x="50" y="208"/>
                    </a:lnTo>
                    <a:lnTo>
                      <a:pt x="8" y="200"/>
                    </a:lnTo>
                    <a:lnTo>
                      <a:pt x="0" y="240"/>
                    </a:lnTo>
                    <a:lnTo>
                      <a:pt x="25" y="256"/>
                    </a:lnTo>
                    <a:lnTo>
                      <a:pt x="42" y="272"/>
                    </a:lnTo>
                    <a:lnTo>
                      <a:pt x="84" y="264"/>
                    </a:lnTo>
                    <a:lnTo>
                      <a:pt x="92" y="304"/>
                    </a:lnTo>
                    <a:lnTo>
                      <a:pt x="101" y="280"/>
                    </a:lnTo>
                    <a:lnTo>
                      <a:pt x="135" y="288"/>
                    </a:lnTo>
                    <a:lnTo>
                      <a:pt x="168" y="256"/>
                    </a:lnTo>
                    <a:lnTo>
                      <a:pt x="244" y="248"/>
                    </a:lnTo>
                    <a:lnTo>
                      <a:pt x="261" y="272"/>
                    </a:lnTo>
                    <a:lnTo>
                      <a:pt x="379" y="304"/>
                    </a:lnTo>
                    <a:lnTo>
                      <a:pt x="379" y="312"/>
                    </a:lnTo>
                    <a:lnTo>
                      <a:pt x="413" y="304"/>
                    </a:lnTo>
                    <a:lnTo>
                      <a:pt x="472" y="30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46">
                <a:extLst>
                  <a:ext uri="{FF2B5EF4-FFF2-40B4-BE49-F238E27FC236}">
                    <a16:creationId xmlns:a16="http://schemas.microsoft.com/office/drawing/2014/main" id="{1337B1DD-9818-F3E9-559F-5E1234B2A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0195" y="4822740"/>
                <a:ext cx="587744" cy="323887"/>
              </a:xfrm>
              <a:custGeom>
                <a:avLst/>
                <a:gdLst>
                  <a:gd name="T0" fmla="*/ 371 w 421"/>
                  <a:gd name="T1" fmla="*/ 104 h 232"/>
                  <a:gd name="T2" fmla="*/ 354 w 421"/>
                  <a:gd name="T3" fmla="*/ 88 h 232"/>
                  <a:gd name="T4" fmla="*/ 329 w 421"/>
                  <a:gd name="T5" fmla="*/ 72 h 232"/>
                  <a:gd name="T6" fmla="*/ 337 w 421"/>
                  <a:gd name="T7" fmla="*/ 32 h 232"/>
                  <a:gd name="T8" fmla="*/ 337 w 421"/>
                  <a:gd name="T9" fmla="*/ 24 h 232"/>
                  <a:gd name="T10" fmla="*/ 253 w 421"/>
                  <a:gd name="T11" fmla="*/ 0 h 232"/>
                  <a:gd name="T12" fmla="*/ 219 w 421"/>
                  <a:gd name="T13" fmla="*/ 16 h 232"/>
                  <a:gd name="T14" fmla="*/ 169 w 421"/>
                  <a:gd name="T15" fmla="*/ 24 h 232"/>
                  <a:gd name="T16" fmla="*/ 143 w 421"/>
                  <a:gd name="T17" fmla="*/ 16 h 232"/>
                  <a:gd name="T18" fmla="*/ 118 w 421"/>
                  <a:gd name="T19" fmla="*/ 32 h 232"/>
                  <a:gd name="T20" fmla="*/ 84 w 421"/>
                  <a:gd name="T21" fmla="*/ 40 h 232"/>
                  <a:gd name="T22" fmla="*/ 76 w 421"/>
                  <a:gd name="T23" fmla="*/ 72 h 232"/>
                  <a:gd name="T24" fmla="*/ 51 w 421"/>
                  <a:gd name="T25" fmla="*/ 88 h 232"/>
                  <a:gd name="T26" fmla="*/ 42 w 421"/>
                  <a:gd name="T27" fmla="*/ 112 h 232"/>
                  <a:gd name="T28" fmla="*/ 9 w 421"/>
                  <a:gd name="T29" fmla="*/ 152 h 232"/>
                  <a:gd name="T30" fmla="*/ 0 w 421"/>
                  <a:gd name="T31" fmla="*/ 184 h 232"/>
                  <a:gd name="T32" fmla="*/ 34 w 421"/>
                  <a:gd name="T33" fmla="*/ 168 h 232"/>
                  <a:gd name="T34" fmla="*/ 76 w 421"/>
                  <a:gd name="T35" fmla="*/ 184 h 232"/>
                  <a:gd name="T36" fmla="*/ 84 w 421"/>
                  <a:gd name="T37" fmla="*/ 200 h 232"/>
                  <a:gd name="T38" fmla="*/ 101 w 421"/>
                  <a:gd name="T39" fmla="*/ 224 h 232"/>
                  <a:gd name="T40" fmla="*/ 177 w 421"/>
                  <a:gd name="T41" fmla="*/ 216 h 232"/>
                  <a:gd name="T42" fmla="*/ 219 w 421"/>
                  <a:gd name="T43" fmla="*/ 152 h 232"/>
                  <a:gd name="T44" fmla="*/ 287 w 421"/>
                  <a:gd name="T45" fmla="*/ 232 h 232"/>
                  <a:gd name="T46" fmla="*/ 312 w 421"/>
                  <a:gd name="T47" fmla="*/ 152 h 232"/>
                  <a:gd name="T48" fmla="*/ 354 w 421"/>
                  <a:gd name="T49" fmla="*/ 160 h 232"/>
                  <a:gd name="T50" fmla="*/ 379 w 421"/>
                  <a:gd name="T51" fmla="*/ 144 h 232"/>
                  <a:gd name="T52" fmla="*/ 413 w 421"/>
                  <a:gd name="T53" fmla="*/ 144 h 232"/>
                  <a:gd name="T54" fmla="*/ 421 w 421"/>
                  <a:gd name="T55" fmla="*/ 136 h 232"/>
                  <a:gd name="T56" fmla="*/ 413 w 421"/>
                  <a:gd name="T57" fmla="*/ 96 h 232"/>
                  <a:gd name="T58" fmla="*/ 371 w 421"/>
                  <a:gd name="T59" fmla="*/ 104 h 23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21" h="232">
                    <a:moveTo>
                      <a:pt x="371" y="104"/>
                    </a:moveTo>
                    <a:lnTo>
                      <a:pt x="354" y="88"/>
                    </a:lnTo>
                    <a:lnTo>
                      <a:pt x="329" y="72"/>
                    </a:lnTo>
                    <a:lnTo>
                      <a:pt x="337" y="32"/>
                    </a:lnTo>
                    <a:lnTo>
                      <a:pt x="337" y="24"/>
                    </a:lnTo>
                    <a:lnTo>
                      <a:pt x="253" y="0"/>
                    </a:lnTo>
                    <a:lnTo>
                      <a:pt x="219" y="16"/>
                    </a:lnTo>
                    <a:lnTo>
                      <a:pt x="169" y="24"/>
                    </a:lnTo>
                    <a:lnTo>
                      <a:pt x="143" y="16"/>
                    </a:lnTo>
                    <a:lnTo>
                      <a:pt x="118" y="32"/>
                    </a:lnTo>
                    <a:lnTo>
                      <a:pt x="84" y="40"/>
                    </a:lnTo>
                    <a:lnTo>
                      <a:pt x="76" y="72"/>
                    </a:lnTo>
                    <a:lnTo>
                      <a:pt x="51" y="88"/>
                    </a:lnTo>
                    <a:lnTo>
                      <a:pt x="42" y="112"/>
                    </a:lnTo>
                    <a:lnTo>
                      <a:pt x="9" y="152"/>
                    </a:lnTo>
                    <a:lnTo>
                      <a:pt x="0" y="184"/>
                    </a:lnTo>
                    <a:lnTo>
                      <a:pt x="34" y="168"/>
                    </a:lnTo>
                    <a:lnTo>
                      <a:pt x="76" y="184"/>
                    </a:lnTo>
                    <a:lnTo>
                      <a:pt x="84" y="200"/>
                    </a:lnTo>
                    <a:lnTo>
                      <a:pt x="101" y="224"/>
                    </a:lnTo>
                    <a:lnTo>
                      <a:pt x="177" y="216"/>
                    </a:lnTo>
                    <a:lnTo>
                      <a:pt x="219" y="152"/>
                    </a:lnTo>
                    <a:lnTo>
                      <a:pt x="287" y="232"/>
                    </a:lnTo>
                    <a:lnTo>
                      <a:pt x="312" y="152"/>
                    </a:lnTo>
                    <a:lnTo>
                      <a:pt x="354" y="160"/>
                    </a:lnTo>
                    <a:lnTo>
                      <a:pt x="379" y="144"/>
                    </a:lnTo>
                    <a:lnTo>
                      <a:pt x="413" y="144"/>
                    </a:lnTo>
                    <a:lnTo>
                      <a:pt x="421" y="136"/>
                    </a:lnTo>
                    <a:lnTo>
                      <a:pt x="413" y="96"/>
                    </a:lnTo>
                    <a:lnTo>
                      <a:pt x="371" y="10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47">
                <a:extLst>
                  <a:ext uri="{FF2B5EF4-FFF2-40B4-BE49-F238E27FC236}">
                    <a16:creationId xmlns:a16="http://schemas.microsoft.com/office/drawing/2014/main" id="{491894B9-7ED6-EF2A-EBC8-F7C2E4D26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500" y="4588201"/>
                <a:ext cx="952116" cy="435573"/>
              </a:xfrm>
              <a:custGeom>
                <a:avLst/>
                <a:gdLst>
                  <a:gd name="T0" fmla="*/ 472 w 682"/>
                  <a:gd name="T1" fmla="*/ 304 h 312"/>
                  <a:gd name="T2" fmla="*/ 505 w 682"/>
                  <a:gd name="T3" fmla="*/ 280 h 312"/>
                  <a:gd name="T4" fmla="*/ 556 w 682"/>
                  <a:gd name="T5" fmla="*/ 280 h 312"/>
                  <a:gd name="T6" fmla="*/ 598 w 682"/>
                  <a:gd name="T7" fmla="*/ 272 h 312"/>
                  <a:gd name="T8" fmla="*/ 598 w 682"/>
                  <a:gd name="T9" fmla="*/ 248 h 312"/>
                  <a:gd name="T10" fmla="*/ 623 w 682"/>
                  <a:gd name="T11" fmla="*/ 224 h 312"/>
                  <a:gd name="T12" fmla="*/ 632 w 682"/>
                  <a:gd name="T13" fmla="*/ 184 h 312"/>
                  <a:gd name="T14" fmla="*/ 632 w 682"/>
                  <a:gd name="T15" fmla="*/ 144 h 312"/>
                  <a:gd name="T16" fmla="*/ 674 w 682"/>
                  <a:gd name="T17" fmla="*/ 128 h 312"/>
                  <a:gd name="T18" fmla="*/ 682 w 682"/>
                  <a:gd name="T19" fmla="*/ 96 h 312"/>
                  <a:gd name="T20" fmla="*/ 649 w 682"/>
                  <a:gd name="T21" fmla="*/ 72 h 312"/>
                  <a:gd name="T22" fmla="*/ 649 w 682"/>
                  <a:gd name="T23" fmla="*/ 24 h 312"/>
                  <a:gd name="T24" fmla="*/ 564 w 682"/>
                  <a:gd name="T25" fmla="*/ 24 h 312"/>
                  <a:gd name="T26" fmla="*/ 488 w 682"/>
                  <a:gd name="T27" fmla="*/ 0 h 312"/>
                  <a:gd name="T28" fmla="*/ 463 w 682"/>
                  <a:gd name="T29" fmla="*/ 48 h 312"/>
                  <a:gd name="T30" fmla="*/ 413 w 682"/>
                  <a:gd name="T31" fmla="*/ 64 h 312"/>
                  <a:gd name="T32" fmla="*/ 371 w 682"/>
                  <a:gd name="T33" fmla="*/ 40 h 312"/>
                  <a:gd name="T34" fmla="*/ 371 w 682"/>
                  <a:gd name="T35" fmla="*/ 64 h 312"/>
                  <a:gd name="T36" fmla="*/ 337 w 682"/>
                  <a:gd name="T37" fmla="*/ 64 h 312"/>
                  <a:gd name="T38" fmla="*/ 328 w 682"/>
                  <a:gd name="T39" fmla="*/ 96 h 312"/>
                  <a:gd name="T40" fmla="*/ 295 w 682"/>
                  <a:gd name="T41" fmla="*/ 120 h 312"/>
                  <a:gd name="T42" fmla="*/ 312 w 682"/>
                  <a:gd name="T43" fmla="*/ 152 h 312"/>
                  <a:gd name="T44" fmla="*/ 312 w 682"/>
                  <a:gd name="T45" fmla="*/ 184 h 312"/>
                  <a:gd name="T46" fmla="*/ 253 w 682"/>
                  <a:gd name="T47" fmla="*/ 168 h 312"/>
                  <a:gd name="T48" fmla="*/ 185 w 682"/>
                  <a:gd name="T49" fmla="*/ 192 h 312"/>
                  <a:gd name="T50" fmla="*/ 143 w 682"/>
                  <a:gd name="T51" fmla="*/ 200 h 312"/>
                  <a:gd name="T52" fmla="*/ 84 w 682"/>
                  <a:gd name="T53" fmla="*/ 192 h 312"/>
                  <a:gd name="T54" fmla="*/ 50 w 682"/>
                  <a:gd name="T55" fmla="*/ 208 h 312"/>
                  <a:gd name="T56" fmla="*/ 8 w 682"/>
                  <a:gd name="T57" fmla="*/ 200 h 312"/>
                  <a:gd name="T58" fmla="*/ 0 w 682"/>
                  <a:gd name="T59" fmla="*/ 240 h 312"/>
                  <a:gd name="T60" fmla="*/ 25 w 682"/>
                  <a:gd name="T61" fmla="*/ 256 h 312"/>
                  <a:gd name="T62" fmla="*/ 42 w 682"/>
                  <a:gd name="T63" fmla="*/ 272 h 312"/>
                  <a:gd name="T64" fmla="*/ 84 w 682"/>
                  <a:gd name="T65" fmla="*/ 264 h 312"/>
                  <a:gd name="T66" fmla="*/ 92 w 682"/>
                  <a:gd name="T67" fmla="*/ 304 h 312"/>
                  <a:gd name="T68" fmla="*/ 101 w 682"/>
                  <a:gd name="T69" fmla="*/ 280 h 312"/>
                  <a:gd name="T70" fmla="*/ 135 w 682"/>
                  <a:gd name="T71" fmla="*/ 288 h 312"/>
                  <a:gd name="T72" fmla="*/ 168 w 682"/>
                  <a:gd name="T73" fmla="*/ 256 h 312"/>
                  <a:gd name="T74" fmla="*/ 244 w 682"/>
                  <a:gd name="T75" fmla="*/ 248 h 312"/>
                  <a:gd name="T76" fmla="*/ 261 w 682"/>
                  <a:gd name="T77" fmla="*/ 272 h 312"/>
                  <a:gd name="T78" fmla="*/ 379 w 682"/>
                  <a:gd name="T79" fmla="*/ 304 h 312"/>
                  <a:gd name="T80" fmla="*/ 379 w 682"/>
                  <a:gd name="T81" fmla="*/ 312 h 312"/>
                  <a:gd name="T82" fmla="*/ 413 w 682"/>
                  <a:gd name="T83" fmla="*/ 304 h 312"/>
                  <a:gd name="T84" fmla="*/ 472 w 682"/>
                  <a:gd name="T85" fmla="*/ 304 h 31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682" h="312">
                    <a:moveTo>
                      <a:pt x="472" y="304"/>
                    </a:moveTo>
                    <a:lnTo>
                      <a:pt x="505" y="280"/>
                    </a:lnTo>
                    <a:lnTo>
                      <a:pt x="556" y="280"/>
                    </a:lnTo>
                    <a:lnTo>
                      <a:pt x="598" y="272"/>
                    </a:lnTo>
                    <a:lnTo>
                      <a:pt x="598" y="248"/>
                    </a:lnTo>
                    <a:lnTo>
                      <a:pt x="623" y="224"/>
                    </a:lnTo>
                    <a:lnTo>
                      <a:pt x="632" y="184"/>
                    </a:lnTo>
                    <a:lnTo>
                      <a:pt x="632" y="144"/>
                    </a:lnTo>
                    <a:lnTo>
                      <a:pt x="674" y="128"/>
                    </a:lnTo>
                    <a:lnTo>
                      <a:pt x="682" y="96"/>
                    </a:lnTo>
                    <a:lnTo>
                      <a:pt x="649" y="72"/>
                    </a:lnTo>
                    <a:lnTo>
                      <a:pt x="649" y="24"/>
                    </a:lnTo>
                    <a:lnTo>
                      <a:pt x="564" y="24"/>
                    </a:lnTo>
                    <a:lnTo>
                      <a:pt x="488" y="0"/>
                    </a:lnTo>
                    <a:lnTo>
                      <a:pt x="463" y="48"/>
                    </a:lnTo>
                    <a:lnTo>
                      <a:pt x="413" y="64"/>
                    </a:lnTo>
                    <a:lnTo>
                      <a:pt x="371" y="40"/>
                    </a:lnTo>
                    <a:lnTo>
                      <a:pt x="371" y="64"/>
                    </a:lnTo>
                    <a:lnTo>
                      <a:pt x="337" y="64"/>
                    </a:lnTo>
                    <a:lnTo>
                      <a:pt x="328" y="96"/>
                    </a:lnTo>
                    <a:lnTo>
                      <a:pt x="295" y="120"/>
                    </a:lnTo>
                    <a:lnTo>
                      <a:pt x="312" y="152"/>
                    </a:lnTo>
                    <a:lnTo>
                      <a:pt x="312" y="184"/>
                    </a:lnTo>
                    <a:lnTo>
                      <a:pt x="253" y="168"/>
                    </a:lnTo>
                    <a:lnTo>
                      <a:pt x="185" y="192"/>
                    </a:lnTo>
                    <a:lnTo>
                      <a:pt x="143" y="200"/>
                    </a:lnTo>
                    <a:lnTo>
                      <a:pt x="84" y="192"/>
                    </a:lnTo>
                    <a:lnTo>
                      <a:pt x="50" y="208"/>
                    </a:lnTo>
                    <a:lnTo>
                      <a:pt x="8" y="200"/>
                    </a:lnTo>
                    <a:lnTo>
                      <a:pt x="0" y="240"/>
                    </a:lnTo>
                    <a:lnTo>
                      <a:pt x="25" y="256"/>
                    </a:lnTo>
                    <a:lnTo>
                      <a:pt x="42" y="272"/>
                    </a:lnTo>
                    <a:lnTo>
                      <a:pt x="84" y="264"/>
                    </a:lnTo>
                    <a:lnTo>
                      <a:pt x="92" y="304"/>
                    </a:lnTo>
                    <a:lnTo>
                      <a:pt x="101" y="280"/>
                    </a:lnTo>
                    <a:lnTo>
                      <a:pt x="135" y="288"/>
                    </a:lnTo>
                    <a:lnTo>
                      <a:pt x="168" y="256"/>
                    </a:lnTo>
                    <a:lnTo>
                      <a:pt x="244" y="248"/>
                    </a:lnTo>
                    <a:lnTo>
                      <a:pt x="261" y="272"/>
                    </a:lnTo>
                    <a:lnTo>
                      <a:pt x="379" y="304"/>
                    </a:lnTo>
                    <a:lnTo>
                      <a:pt x="379" y="312"/>
                    </a:lnTo>
                    <a:lnTo>
                      <a:pt x="413" y="304"/>
                    </a:lnTo>
                    <a:lnTo>
                      <a:pt x="472" y="30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48">
                <a:extLst>
                  <a:ext uri="{FF2B5EF4-FFF2-40B4-BE49-F238E27FC236}">
                    <a16:creationId xmlns:a16="http://schemas.microsoft.com/office/drawing/2014/main" id="{5F67791B-302B-CBCB-0742-36910693D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238" y="4241977"/>
                <a:ext cx="811114" cy="435573"/>
              </a:xfrm>
              <a:custGeom>
                <a:avLst/>
                <a:gdLst>
                  <a:gd name="T0" fmla="*/ 497 w 581"/>
                  <a:gd name="T1" fmla="*/ 248 h 312"/>
                  <a:gd name="T2" fmla="*/ 531 w 581"/>
                  <a:gd name="T3" fmla="*/ 200 h 312"/>
                  <a:gd name="T4" fmla="*/ 556 w 581"/>
                  <a:gd name="T5" fmla="*/ 176 h 312"/>
                  <a:gd name="T6" fmla="*/ 581 w 581"/>
                  <a:gd name="T7" fmla="*/ 152 h 312"/>
                  <a:gd name="T8" fmla="*/ 564 w 581"/>
                  <a:gd name="T9" fmla="*/ 120 h 312"/>
                  <a:gd name="T10" fmla="*/ 522 w 581"/>
                  <a:gd name="T11" fmla="*/ 112 h 312"/>
                  <a:gd name="T12" fmla="*/ 480 w 581"/>
                  <a:gd name="T13" fmla="*/ 104 h 312"/>
                  <a:gd name="T14" fmla="*/ 463 w 581"/>
                  <a:gd name="T15" fmla="*/ 80 h 312"/>
                  <a:gd name="T16" fmla="*/ 413 w 581"/>
                  <a:gd name="T17" fmla="*/ 64 h 312"/>
                  <a:gd name="T18" fmla="*/ 413 w 581"/>
                  <a:gd name="T19" fmla="*/ 88 h 312"/>
                  <a:gd name="T20" fmla="*/ 387 w 581"/>
                  <a:gd name="T21" fmla="*/ 104 h 312"/>
                  <a:gd name="T22" fmla="*/ 345 w 581"/>
                  <a:gd name="T23" fmla="*/ 72 h 312"/>
                  <a:gd name="T24" fmla="*/ 354 w 581"/>
                  <a:gd name="T25" fmla="*/ 40 h 312"/>
                  <a:gd name="T26" fmla="*/ 312 w 581"/>
                  <a:gd name="T27" fmla="*/ 40 h 312"/>
                  <a:gd name="T28" fmla="*/ 269 w 581"/>
                  <a:gd name="T29" fmla="*/ 24 h 312"/>
                  <a:gd name="T30" fmla="*/ 227 w 581"/>
                  <a:gd name="T31" fmla="*/ 0 h 312"/>
                  <a:gd name="T32" fmla="*/ 227 w 581"/>
                  <a:gd name="T33" fmla="*/ 24 h 312"/>
                  <a:gd name="T34" fmla="*/ 202 w 581"/>
                  <a:gd name="T35" fmla="*/ 8 h 312"/>
                  <a:gd name="T36" fmla="*/ 168 w 581"/>
                  <a:gd name="T37" fmla="*/ 8 h 312"/>
                  <a:gd name="T38" fmla="*/ 160 w 581"/>
                  <a:gd name="T39" fmla="*/ 40 h 312"/>
                  <a:gd name="T40" fmla="*/ 118 w 581"/>
                  <a:gd name="T41" fmla="*/ 56 h 312"/>
                  <a:gd name="T42" fmla="*/ 76 w 581"/>
                  <a:gd name="T43" fmla="*/ 80 h 312"/>
                  <a:gd name="T44" fmla="*/ 34 w 581"/>
                  <a:gd name="T45" fmla="*/ 88 h 312"/>
                  <a:gd name="T46" fmla="*/ 0 w 581"/>
                  <a:gd name="T47" fmla="*/ 112 h 312"/>
                  <a:gd name="T48" fmla="*/ 34 w 581"/>
                  <a:gd name="T49" fmla="*/ 152 h 312"/>
                  <a:gd name="T50" fmla="*/ 25 w 581"/>
                  <a:gd name="T51" fmla="*/ 176 h 312"/>
                  <a:gd name="T52" fmla="*/ 84 w 581"/>
                  <a:gd name="T53" fmla="*/ 224 h 312"/>
                  <a:gd name="T54" fmla="*/ 160 w 581"/>
                  <a:gd name="T55" fmla="*/ 280 h 312"/>
                  <a:gd name="T56" fmla="*/ 152 w 581"/>
                  <a:gd name="T57" fmla="*/ 288 h 312"/>
                  <a:gd name="T58" fmla="*/ 194 w 581"/>
                  <a:gd name="T59" fmla="*/ 312 h 312"/>
                  <a:gd name="T60" fmla="*/ 244 w 581"/>
                  <a:gd name="T61" fmla="*/ 296 h 312"/>
                  <a:gd name="T62" fmla="*/ 269 w 581"/>
                  <a:gd name="T63" fmla="*/ 248 h 312"/>
                  <a:gd name="T64" fmla="*/ 345 w 581"/>
                  <a:gd name="T65" fmla="*/ 272 h 312"/>
                  <a:gd name="T66" fmla="*/ 430 w 581"/>
                  <a:gd name="T67" fmla="*/ 272 h 312"/>
                  <a:gd name="T68" fmla="*/ 430 w 581"/>
                  <a:gd name="T69" fmla="*/ 280 h 312"/>
                  <a:gd name="T70" fmla="*/ 455 w 581"/>
                  <a:gd name="T71" fmla="*/ 248 h 312"/>
                  <a:gd name="T72" fmla="*/ 497 w 581"/>
                  <a:gd name="T73" fmla="*/ 248 h 31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581" h="312">
                    <a:moveTo>
                      <a:pt x="497" y="248"/>
                    </a:moveTo>
                    <a:lnTo>
                      <a:pt x="531" y="200"/>
                    </a:lnTo>
                    <a:lnTo>
                      <a:pt x="556" y="176"/>
                    </a:lnTo>
                    <a:lnTo>
                      <a:pt x="581" y="152"/>
                    </a:lnTo>
                    <a:lnTo>
                      <a:pt x="564" y="120"/>
                    </a:lnTo>
                    <a:lnTo>
                      <a:pt x="522" y="112"/>
                    </a:lnTo>
                    <a:lnTo>
                      <a:pt x="480" y="104"/>
                    </a:lnTo>
                    <a:lnTo>
                      <a:pt x="463" y="80"/>
                    </a:lnTo>
                    <a:lnTo>
                      <a:pt x="413" y="64"/>
                    </a:lnTo>
                    <a:lnTo>
                      <a:pt x="413" y="88"/>
                    </a:lnTo>
                    <a:lnTo>
                      <a:pt x="387" y="104"/>
                    </a:lnTo>
                    <a:lnTo>
                      <a:pt x="345" y="72"/>
                    </a:lnTo>
                    <a:lnTo>
                      <a:pt x="354" y="40"/>
                    </a:lnTo>
                    <a:lnTo>
                      <a:pt x="312" y="40"/>
                    </a:lnTo>
                    <a:lnTo>
                      <a:pt x="269" y="24"/>
                    </a:lnTo>
                    <a:lnTo>
                      <a:pt x="227" y="0"/>
                    </a:lnTo>
                    <a:lnTo>
                      <a:pt x="227" y="24"/>
                    </a:lnTo>
                    <a:lnTo>
                      <a:pt x="202" y="8"/>
                    </a:lnTo>
                    <a:lnTo>
                      <a:pt x="168" y="8"/>
                    </a:lnTo>
                    <a:lnTo>
                      <a:pt x="160" y="40"/>
                    </a:lnTo>
                    <a:lnTo>
                      <a:pt x="118" y="56"/>
                    </a:lnTo>
                    <a:lnTo>
                      <a:pt x="76" y="80"/>
                    </a:lnTo>
                    <a:lnTo>
                      <a:pt x="34" y="88"/>
                    </a:lnTo>
                    <a:lnTo>
                      <a:pt x="0" y="112"/>
                    </a:lnTo>
                    <a:lnTo>
                      <a:pt x="34" y="152"/>
                    </a:lnTo>
                    <a:lnTo>
                      <a:pt x="25" y="176"/>
                    </a:lnTo>
                    <a:lnTo>
                      <a:pt x="84" y="224"/>
                    </a:lnTo>
                    <a:lnTo>
                      <a:pt x="160" y="280"/>
                    </a:lnTo>
                    <a:lnTo>
                      <a:pt x="152" y="288"/>
                    </a:lnTo>
                    <a:lnTo>
                      <a:pt x="194" y="312"/>
                    </a:lnTo>
                    <a:lnTo>
                      <a:pt x="244" y="296"/>
                    </a:lnTo>
                    <a:lnTo>
                      <a:pt x="269" y="248"/>
                    </a:lnTo>
                    <a:lnTo>
                      <a:pt x="345" y="272"/>
                    </a:lnTo>
                    <a:lnTo>
                      <a:pt x="430" y="272"/>
                    </a:lnTo>
                    <a:lnTo>
                      <a:pt x="430" y="280"/>
                    </a:lnTo>
                    <a:lnTo>
                      <a:pt x="455" y="248"/>
                    </a:lnTo>
                    <a:lnTo>
                      <a:pt x="497" y="24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49">
                <a:extLst>
                  <a:ext uri="{FF2B5EF4-FFF2-40B4-BE49-F238E27FC236}">
                    <a16:creationId xmlns:a16="http://schemas.microsoft.com/office/drawing/2014/main" id="{7E44C7F8-E46C-77B7-4039-9580BF583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7441" y="4923257"/>
                <a:ext cx="388106" cy="279212"/>
              </a:xfrm>
              <a:custGeom>
                <a:avLst/>
                <a:gdLst>
                  <a:gd name="T0" fmla="*/ 50 w 278"/>
                  <a:gd name="T1" fmla="*/ 192 h 200"/>
                  <a:gd name="T2" fmla="*/ 92 w 278"/>
                  <a:gd name="T3" fmla="*/ 160 h 200"/>
                  <a:gd name="T4" fmla="*/ 117 w 278"/>
                  <a:gd name="T5" fmla="*/ 176 h 200"/>
                  <a:gd name="T6" fmla="*/ 151 w 278"/>
                  <a:gd name="T7" fmla="*/ 184 h 200"/>
                  <a:gd name="T8" fmla="*/ 168 w 278"/>
                  <a:gd name="T9" fmla="*/ 152 h 200"/>
                  <a:gd name="T10" fmla="*/ 202 w 278"/>
                  <a:gd name="T11" fmla="*/ 144 h 200"/>
                  <a:gd name="T12" fmla="*/ 202 w 278"/>
                  <a:gd name="T13" fmla="*/ 104 h 200"/>
                  <a:gd name="T14" fmla="*/ 235 w 278"/>
                  <a:gd name="T15" fmla="*/ 64 h 200"/>
                  <a:gd name="T16" fmla="*/ 278 w 278"/>
                  <a:gd name="T17" fmla="*/ 48 h 200"/>
                  <a:gd name="T18" fmla="*/ 235 w 278"/>
                  <a:gd name="T19" fmla="*/ 0 h 200"/>
                  <a:gd name="T20" fmla="*/ 227 w 278"/>
                  <a:gd name="T21" fmla="*/ 8 h 200"/>
                  <a:gd name="T22" fmla="*/ 227 w 278"/>
                  <a:gd name="T23" fmla="*/ 32 h 200"/>
                  <a:gd name="T24" fmla="*/ 185 w 278"/>
                  <a:gd name="T25" fmla="*/ 40 h 200"/>
                  <a:gd name="T26" fmla="*/ 134 w 278"/>
                  <a:gd name="T27" fmla="*/ 40 h 200"/>
                  <a:gd name="T28" fmla="*/ 101 w 278"/>
                  <a:gd name="T29" fmla="*/ 64 h 200"/>
                  <a:gd name="T30" fmla="*/ 42 w 278"/>
                  <a:gd name="T31" fmla="*/ 64 h 200"/>
                  <a:gd name="T32" fmla="*/ 8 w 278"/>
                  <a:gd name="T33" fmla="*/ 72 h 200"/>
                  <a:gd name="T34" fmla="*/ 0 w 278"/>
                  <a:gd name="T35" fmla="*/ 96 h 200"/>
                  <a:gd name="T36" fmla="*/ 8 w 278"/>
                  <a:gd name="T37" fmla="*/ 152 h 200"/>
                  <a:gd name="T38" fmla="*/ 0 w 278"/>
                  <a:gd name="T39" fmla="*/ 160 h 200"/>
                  <a:gd name="T40" fmla="*/ 25 w 278"/>
                  <a:gd name="T41" fmla="*/ 152 h 200"/>
                  <a:gd name="T42" fmla="*/ 8 w 278"/>
                  <a:gd name="T43" fmla="*/ 176 h 200"/>
                  <a:gd name="T44" fmla="*/ 8 w 278"/>
                  <a:gd name="T45" fmla="*/ 200 h 200"/>
                  <a:gd name="T46" fmla="*/ 16 w 278"/>
                  <a:gd name="T47" fmla="*/ 200 h 200"/>
                  <a:gd name="T48" fmla="*/ 50 w 278"/>
                  <a:gd name="T49" fmla="*/ 192 h 20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278" h="200">
                    <a:moveTo>
                      <a:pt x="50" y="192"/>
                    </a:moveTo>
                    <a:lnTo>
                      <a:pt x="92" y="160"/>
                    </a:lnTo>
                    <a:lnTo>
                      <a:pt x="117" y="176"/>
                    </a:lnTo>
                    <a:lnTo>
                      <a:pt x="151" y="184"/>
                    </a:lnTo>
                    <a:lnTo>
                      <a:pt x="168" y="152"/>
                    </a:lnTo>
                    <a:lnTo>
                      <a:pt x="202" y="144"/>
                    </a:lnTo>
                    <a:lnTo>
                      <a:pt x="202" y="104"/>
                    </a:lnTo>
                    <a:lnTo>
                      <a:pt x="235" y="64"/>
                    </a:lnTo>
                    <a:lnTo>
                      <a:pt x="278" y="48"/>
                    </a:lnTo>
                    <a:lnTo>
                      <a:pt x="235" y="0"/>
                    </a:lnTo>
                    <a:lnTo>
                      <a:pt x="227" y="8"/>
                    </a:lnTo>
                    <a:lnTo>
                      <a:pt x="227" y="32"/>
                    </a:lnTo>
                    <a:lnTo>
                      <a:pt x="185" y="40"/>
                    </a:lnTo>
                    <a:lnTo>
                      <a:pt x="134" y="40"/>
                    </a:lnTo>
                    <a:lnTo>
                      <a:pt x="101" y="64"/>
                    </a:lnTo>
                    <a:lnTo>
                      <a:pt x="42" y="64"/>
                    </a:lnTo>
                    <a:lnTo>
                      <a:pt x="8" y="72"/>
                    </a:lnTo>
                    <a:lnTo>
                      <a:pt x="0" y="96"/>
                    </a:lnTo>
                    <a:lnTo>
                      <a:pt x="8" y="152"/>
                    </a:lnTo>
                    <a:lnTo>
                      <a:pt x="0" y="160"/>
                    </a:lnTo>
                    <a:lnTo>
                      <a:pt x="25" y="152"/>
                    </a:lnTo>
                    <a:lnTo>
                      <a:pt x="8" y="176"/>
                    </a:lnTo>
                    <a:lnTo>
                      <a:pt x="8" y="200"/>
                    </a:lnTo>
                    <a:lnTo>
                      <a:pt x="16" y="200"/>
                    </a:lnTo>
                    <a:lnTo>
                      <a:pt x="50" y="19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id="{FF1176A0-8115-1B6A-5ADF-7425C19B2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8608" y="5001436"/>
                <a:ext cx="765043" cy="580763"/>
              </a:xfrm>
              <a:custGeom>
                <a:avLst/>
                <a:gdLst>
                  <a:gd name="T0" fmla="*/ 388 w 548"/>
                  <a:gd name="T1" fmla="*/ 360 h 416"/>
                  <a:gd name="T2" fmla="*/ 379 w 548"/>
                  <a:gd name="T3" fmla="*/ 344 h 416"/>
                  <a:gd name="T4" fmla="*/ 345 w 548"/>
                  <a:gd name="T5" fmla="*/ 328 h 416"/>
                  <a:gd name="T6" fmla="*/ 320 w 548"/>
                  <a:gd name="T7" fmla="*/ 296 h 416"/>
                  <a:gd name="T8" fmla="*/ 270 w 548"/>
                  <a:gd name="T9" fmla="*/ 264 h 416"/>
                  <a:gd name="T10" fmla="*/ 236 w 548"/>
                  <a:gd name="T11" fmla="*/ 216 h 416"/>
                  <a:gd name="T12" fmla="*/ 202 w 548"/>
                  <a:gd name="T13" fmla="*/ 200 h 416"/>
                  <a:gd name="T14" fmla="*/ 219 w 548"/>
                  <a:gd name="T15" fmla="*/ 152 h 416"/>
                  <a:gd name="T16" fmla="*/ 236 w 548"/>
                  <a:gd name="T17" fmla="*/ 152 h 416"/>
                  <a:gd name="T18" fmla="*/ 270 w 548"/>
                  <a:gd name="T19" fmla="*/ 168 h 416"/>
                  <a:gd name="T20" fmla="*/ 278 w 548"/>
                  <a:gd name="T21" fmla="*/ 144 h 416"/>
                  <a:gd name="T22" fmla="*/ 312 w 548"/>
                  <a:gd name="T23" fmla="*/ 136 h 416"/>
                  <a:gd name="T24" fmla="*/ 354 w 548"/>
                  <a:gd name="T25" fmla="*/ 144 h 416"/>
                  <a:gd name="T26" fmla="*/ 404 w 548"/>
                  <a:gd name="T27" fmla="*/ 152 h 416"/>
                  <a:gd name="T28" fmla="*/ 438 w 548"/>
                  <a:gd name="T29" fmla="*/ 144 h 416"/>
                  <a:gd name="T30" fmla="*/ 472 w 548"/>
                  <a:gd name="T31" fmla="*/ 152 h 416"/>
                  <a:gd name="T32" fmla="*/ 522 w 548"/>
                  <a:gd name="T33" fmla="*/ 160 h 416"/>
                  <a:gd name="T34" fmla="*/ 522 w 548"/>
                  <a:gd name="T35" fmla="*/ 128 h 416"/>
                  <a:gd name="T36" fmla="*/ 548 w 548"/>
                  <a:gd name="T37" fmla="*/ 120 h 416"/>
                  <a:gd name="T38" fmla="*/ 522 w 548"/>
                  <a:gd name="T39" fmla="*/ 112 h 416"/>
                  <a:gd name="T40" fmla="*/ 497 w 548"/>
                  <a:gd name="T41" fmla="*/ 80 h 416"/>
                  <a:gd name="T42" fmla="*/ 480 w 548"/>
                  <a:gd name="T43" fmla="*/ 48 h 416"/>
                  <a:gd name="T44" fmla="*/ 421 w 548"/>
                  <a:gd name="T45" fmla="*/ 72 h 416"/>
                  <a:gd name="T46" fmla="*/ 388 w 548"/>
                  <a:gd name="T47" fmla="*/ 72 h 416"/>
                  <a:gd name="T48" fmla="*/ 379 w 548"/>
                  <a:gd name="T49" fmla="*/ 48 h 416"/>
                  <a:gd name="T50" fmla="*/ 345 w 548"/>
                  <a:gd name="T51" fmla="*/ 56 h 416"/>
                  <a:gd name="T52" fmla="*/ 320 w 548"/>
                  <a:gd name="T53" fmla="*/ 40 h 416"/>
                  <a:gd name="T54" fmla="*/ 295 w 548"/>
                  <a:gd name="T55" fmla="*/ 16 h 416"/>
                  <a:gd name="T56" fmla="*/ 261 w 548"/>
                  <a:gd name="T57" fmla="*/ 0 h 416"/>
                  <a:gd name="T58" fmla="*/ 227 w 548"/>
                  <a:gd name="T59" fmla="*/ 8 h 416"/>
                  <a:gd name="T60" fmla="*/ 194 w 548"/>
                  <a:gd name="T61" fmla="*/ 48 h 416"/>
                  <a:gd name="T62" fmla="*/ 194 w 548"/>
                  <a:gd name="T63" fmla="*/ 88 h 416"/>
                  <a:gd name="T64" fmla="*/ 160 w 548"/>
                  <a:gd name="T65" fmla="*/ 96 h 416"/>
                  <a:gd name="T66" fmla="*/ 143 w 548"/>
                  <a:gd name="T67" fmla="*/ 128 h 416"/>
                  <a:gd name="T68" fmla="*/ 109 w 548"/>
                  <a:gd name="T69" fmla="*/ 120 h 416"/>
                  <a:gd name="T70" fmla="*/ 84 w 548"/>
                  <a:gd name="T71" fmla="*/ 104 h 416"/>
                  <a:gd name="T72" fmla="*/ 42 w 548"/>
                  <a:gd name="T73" fmla="*/ 136 h 416"/>
                  <a:gd name="T74" fmla="*/ 8 w 548"/>
                  <a:gd name="T75" fmla="*/ 144 h 416"/>
                  <a:gd name="T76" fmla="*/ 0 w 548"/>
                  <a:gd name="T77" fmla="*/ 144 h 416"/>
                  <a:gd name="T78" fmla="*/ 0 w 548"/>
                  <a:gd name="T79" fmla="*/ 152 h 416"/>
                  <a:gd name="T80" fmla="*/ 34 w 548"/>
                  <a:gd name="T81" fmla="*/ 216 h 416"/>
                  <a:gd name="T82" fmla="*/ 84 w 548"/>
                  <a:gd name="T83" fmla="*/ 152 h 416"/>
                  <a:gd name="T84" fmla="*/ 84 w 548"/>
                  <a:gd name="T85" fmla="*/ 216 h 416"/>
                  <a:gd name="T86" fmla="*/ 126 w 548"/>
                  <a:gd name="T87" fmla="*/ 192 h 416"/>
                  <a:gd name="T88" fmla="*/ 126 w 548"/>
                  <a:gd name="T89" fmla="*/ 240 h 416"/>
                  <a:gd name="T90" fmla="*/ 177 w 548"/>
                  <a:gd name="T91" fmla="*/ 264 h 416"/>
                  <a:gd name="T92" fmla="*/ 160 w 548"/>
                  <a:gd name="T93" fmla="*/ 272 h 416"/>
                  <a:gd name="T94" fmla="*/ 219 w 548"/>
                  <a:gd name="T95" fmla="*/ 312 h 416"/>
                  <a:gd name="T96" fmla="*/ 227 w 548"/>
                  <a:gd name="T97" fmla="*/ 336 h 416"/>
                  <a:gd name="T98" fmla="*/ 253 w 548"/>
                  <a:gd name="T99" fmla="*/ 352 h 416"/>
                  <a:gd name="T100" fmla="*/ 312 w 548"/>
                  <a:gd name="T101" fmla="*/ 360 h 416"/>
                  <a:gd name="T102" fmla="*/ 371 w 548"/>
                  <a:gd name="T103" fmla="*/ 384 h 416"/>
                  <a:gd name="T104" fmla="*/ 312 w 548"/>
                  <a:gd name="T105" fmla="*/ 392 h 416"/>
                  <a:gd name="T106" fmla="*/ 413 w 548"/>
                  <a:gd name="T107" fmla="*/ 416 h 416"/>
                  <a:gd name="T108" fmla="*/ 413 w 548"/>
                  <a:gd name="T109" fmla="*/ 384 h 416"/>
                  <a:gd name="T110" fmla="*/ 388 w 548"/>
                  <a:gd name="T111" fmla="*/ 360 h 41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48" h="416">
                    <a:moveTo>
                      <a:pt x="388" y="360"/>
                    </a:moveTo>
                    <a:lnTo>
                      <a:pt x="379" y="344"/>
                    </a:lnTo>
                    <a:lnTo>
                      <a:pt x="345" y="328"/>
                    </a:lnTo>
                    <a:lnTo>
                      <a:pt x="320" y="296"/>
                    </a:lnTo>
                    <a:lnTo>
                      <a:pt x="270" y="264"/>
                    </a:lnTo>
                    <a:lnTo>
                      <a:pt x="236" y="216"/>
                    </a:lnTo>
                    <a:lnTo>
                      <a:pt x="202" y="200"/>
                    </a:lnTo>
                    <a:lnTo>
                      <a:pt x="219" y="152"/>
                    </a:lnTo>
                    <a:lnTo>
                      <a:pt x="236" y="152"/>
                    </a:lnTo>
                    <a:lnTo>
                      <a:pt x="270" y="168"/>
                    </a:lnTo>
                    <a:lnTo>
                      <a:pt x="278" y="144"/>
                    </a:lnTo>
                    <a:lnTo>
                      <a:pt x="312" y="136"/>
                    </a:lnTo>
                    <a:lnTo>
                      <a:pt x="354" y="144"/>
                    </a:lnTo>
                    <a:lnTo>
                      <a:pt x="404" y="152"/>
                    </a:lnTo>
                    <a:lnTo>
                      <a:pt x="438" y="144"/>
                    </a:lnTo>
                    <a:lnTo>
                      <a:pt x="472" y="152"/>
                    </a:lnTo>
                    <a:lnTo>
                      <a:pt x="522" y="160"/>
                    </a:lnTo>
                    <a:lnTo>
                      <a:pt x="522" y="128"/>
                    </a:lnTo>
                    <a:lnTo>
                      <a:pt x="548" y="120"/>
                    </a:lnTo>
                    <a:lnTo>
                      <a:pt x="522" y="112"/>
                    </a:lnTo>
                    <a:lnTo>
                      <a:pt x="497" y="80"/>
                    </a:lnTo>
                    <a:lnTo>
                      <a:pt x="480" y="48"/>
                    </a:lnTo>
                    <a:lnTo>
                      <a:pt x="421" y="72"/>
                    </a:lnTo>
                    <a:lnTo>
                      <a:pt x="388" y="72"/>
                    </a:lnTo>
                    <a:lnTo>
                      <a:pt x="379" y="48"/>
                    </a:lnTo>
                    <a:lnTo>
                      <a:pt x="345" y="56"/>
                    </a:lnTo>
                    <a:lnTo>
                      <a:pt x="320" y="40"/>
                    </a:lnTo>
                    <a:lnTo>
                      <a:pt x="295" y="16"/>
                    </a:lnTo>
                    <a:lnTo>
                      <a:pt x="261" y="0"/>
                    </a:lnTo>
                    <a:lnTo>
                      <a:pt x="227" y="8"/>
                    </a:lnTo>
                    <a:lnTo>
                      <a:pt x="194" y="48"/>
                    </a:lnTo>
                    <a:lnTo>
                      <a:pt x="194" y="88"/>
                    </a:lnTo>
                    <a:lnTo>
                      <a:pt x="160" y="96"/>
                    </a:lnTo>
                    <a:lnTo>
                      <a:pt x="143" y="128"/>
                    </a:lnTo>
                    <a:lnTo>
                      <a:pt x="109" y="120"/>
                    </a:lnTo>
                    <a:lnTo>
                      <a:pt x="84" y="104"/>
                    </a:lnTo>
                    <a:lnTo>
                      <a:pt x="42" y="136"/>
                    </a:lnTo>
                    <a:lnTo>
                      <a:pt x="8" y="144"/>
                    </a:lnTo>
                    <a:lnTo>
                      <a:pt x="0" y="144"/>
                    </a:lnTo>
                    <a:lnTo>
                      <a:pt x="0" y="152"/>
                    </a:lnTo>
                    <a:lnTo>
                      <a:pt x="34" y="216"/>
                    </a:lnTo>
                    <a:lnTo>
                      <a:pt x="84" y="152"/>
                    </a:lnTo>
                    <a:lnTo>
                      <a:pt x="84" y="216"/>
                    </a:lnTo>
                    <a:lnTo>
                      <a:pt x="126" y="192"/>
                    </a:lnTo>
                    <a:lnTo>
                      <a:pt x="126" y="240"/>
                    </a:lnTo>
                    <a:lnTo>
                      <a:pt x="177" y="264"/>
                    </a:lnTo>
                    <a:lnTo>
                      <a:pt x="160" y="272"/>
                    </a:lnTo>
                    <a:lnTo>
                      <a:pt x="219" y="312"/>
                    </a:lnTo>
                    <a:lnTo>
                      <a:pt x="227" y="336"/>
                    </a:lnTo>
                    <a:lnTo>
                      <a:pt x="253" y="352"/>
                    </a:lnTo>
                    <a:lnTo>
                      <a:pt x="312" y="360"/>
                    </a:lnTo>
                    <a:lnTo>
                      <a:pt x="371" y="384"/>
                    </a:lnTo>
                    <a:lnTo>
                      <a:pt x="312" y="392"/>
                    </a:lnTo>
                    <a:lnTo>
                      <a:pt x="413" y="416"/>
                    </a:lnTo>
                    <a:lnTo>
                      <a:pt x="413" y="384"/>
                    </a:lnTo>
                    <a:lnTo>
                      <a:pt x="388" y="36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id="{148F6ED3-4158-81C3-516A-64C85804A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7441" y="4923257"/>
                <a:ext cx="388106" cy="279212"/>
              </a:xfrm>
              <a:custGeom>
                <a:avLst/>
                <a:gdLst>
                  <a:gd name="T0" fmla="*/ 50 w 278"/>
                  <a:gd name="T1" fmla="*/ 192 h 200"/>
                  <a:gd name="T2" fmla="*/ 92 w 278"/>
                  <a:gd name="T3" fmla="*/ 160 h 200"/>
                  <a:gd name="T4" fmla="*/ 117 w 278"/>
                  <a:gd name="T5" fmla="*/ 176 h 200"/>
                  <a:gd name="T6" fmla="*/ 151 w 278"/>
                  <a:gd name="T7" fmla="*/ 184 h 200"/>
                  <a:gd name="T8" fmla="*/ 168 w 278"/>
                  <a:gd name="T9" fmla="*/ 152 h 200"/>
                  <a:gd name="T10" fmla="*/ 202 w 278"/>
                  <a:gd name="T11" fmla="*/ 144 h 200"/>
                  <a:gd name="T12" fmla="*/ 202 w 278"/>
                  <a:gd name="T13" fmla="*/ 104 h 200"/>
                  <a:gd name="T14" fmla="*/ 235 w 278"/>
                  <a:gd name="T15" fmla="*/ 64 h 200"/>
                  <a:gd name="T16" fmla="*/ 278 w 278"/>
                  <a:gd name="T17" fmla="*/ 48 h 200"/>
                  <a:gd name="T18" fmla="*/ 235 w 278"/>
                  <a:gd name="T19" fmla="*/ 0 h 200"/>
                  <a:gd name="T20" fmla="*/ 227 w 278"/>
                  <a:gd name="T21" fmla="*/ 8 h 200"/>
                  <a:gd name="T22" fmla="*/ 227 w 278"/>
                  <a:gd name="T23" fmla="*/ 32 h 200"/>
                  <a:gd name="T24" fmla="*/ 185 w 278"/>
                  <a:gd name="T25" fmla="*/ 40 h 200"/>
                  <a:gd name="T26" fmla="*/ 134 w 278"/>
                  <a:gd name="T27" fmla="*/ 40 h 200"/>
                  <a:gd name="T28" fmla="*/ 101 w 278"/>
                  <a:gd name="T29" fmla="*/ 64 h 200"/>
                  <a:gd name="T30" fmla="*/ 42 w 278"/>
                  <a:gd name="T31" fmla="*/ 64 h 200"/>
                  <a:gd name="T32" fmla="*/ 8 w 278"/>
                  <a:gd name="T33" fmla="*/ 72 h 200"/>
                  <a:gd name="T34" fmla="*/ 0 w 278"/>
                  <a:gd name="T35" fmla="*/ 96 h 200"/>
                  <a:gd name="T36" fmla="*/ 8 w 278"/>
                  <a:gd name="T37" fmla="*/ 152 h 200"/>
                  <a:gd name="T38" fmla="*/ 0 w 278"/>
                  <a:gd name="T39" fmla="*/ 160 h 200"/>
                  <a:gd name="T40" fmla="*/ 25 w 278"/>
                  <a:gd name="T41" fmla="*/ 152 h 200"/>
                  <a:gd name="T42" fmla="*/ 8 w 278"/>
                  <a:gd name="T43" fmla="*/ 176 h 200"/>
                  <a:gd name="T44" fmla="*/ 8 w 278"/>
                  <a:gd name="T45" fmla="*/ 200 h 200"/>
                  <a:gd name="T46" fmla="*/ 16 w 278"/>
                  <a:gd name="T47" fmla="*/ 200 h 200"/>
                  <a:gd name="T48" fmla="*/ 50 w 278"/>
                  <a:gd name="T49" fmla="*/ 192 h 20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278" h="200">
                    <a:moveTo>
                      <a:pt x="50" y="192"/>
                    </a:moveTo>
                    <a:lnTo>
                      <a:pt x="92" y="160"/>
                    </a:lnTo>
                    <a:lnTo>
                      <a:pt x="117" y="176"/>
                    </a:lnTo>
                    <a:lnTo>
                      <a:pt x="151" y="184"/>
                    </a:lnTo>
                    <a:lnTo>
                      <a:pt x="168" y="152"/>
                    </a:lnTo>
                    <a:lnTo>
                      <a:pt x="202" y="144"/>
                    </a:lnTo>
                    <a:lnTo>
                      <a:pt x="202" y="104"/>
                    </a:lnTo>
                    <a:lnTo>
                      <a:pt x="235" y="64"/>
                    </a:lnTo>
                    <a:lnTo>
                      <a:pt x="278" y="48"/>
                    </a:lnTo>
                    <a:lnTo>
                      <a:pt x="235" y="0"/>
                    </a:lnTo>
                    <a:lnTo>
                      <a:pt x="227" y="8"/>
                    </a:lnTo>
                    <a:lnTo>
                      <a:pt x="227" y="32"/>
                    </a:lnTo>
                    <a:lnTo>
                      <a:pt x="185" y="40"/>
                    </a:lnTo>
                    <a:lnTo>
                      <a:pt x="134" y="40"/>
                    </a:lnTo>
                    <a:lnTo>
                      <a:pt x="101" y="64"/>
                    </a:lnTo>
                    <a:lnTo>
                      <a:pt x="42" y="64"/>
                    </a:lnTo>
                    <a:lnTo>
                      <a:pt x="8" y="72"/>
                    </a:lnTo>
                    <a:lnTo>
                      <a:pt x="0" y="96"/>
                    </a:lnTo>
                    <a:lnTo>
                      <a:pt x="8" y="152"/>
                    </a:lnTo>
                    <a:lnTo>
                      <a:pt x="0" y="160"/>
                    </a:lnTo>
                    <a:lnTo>
                      <a:pt x="25" y="152"/>
                    </a:lnTo>
                    <a:lnTo>
                      <a:pt x="8" y="176"/>
                    </a:lnTo>
                    <a:lnTo>
                      <a:pt x="8" y="200"/>
                    </a:lnTo>
                    <a:lnTo>
                      <a:pt x="16" y="200"/>
                    </a:lnTo>
                    <a:lnTo>
                      <a:pt x="50" y="192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52">
                <a:extLst>
                  <a:ext uri="{FF2B5EF4-FFF2-40B4-BE49-F238E27FC236}">
                    <a16:creationId xmlns:a16="http://schemas.microsoft.com/office/drawing/2014/main" id="{BF9FFDB3-CD7E-9280-A674-0E4889C82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8608" y="5001436"/>
                <a:ext cx="765043" cy="580763"/>
              </a:xfrm>
              <a:custGeom>
                <a:avLst/>
                <a:gdLst>
                  <a:gd name="T0" fmla="*/ 388 w 548"/>
                  <a:gd name="T1" fmla="*/ 360 h 416"/>
                  <a:gd name="T2" fmla="*/ 379 w 548"/>
                  <a:gd name="T3" fmla="*/ 344 h 416"/>
                  <a:gd name="T4" fmla="*/ 345 w 548"/>
                  <a:gd name="T5" fmla="*/ 328 h 416"/>
                  <a:gd name="T6" fmla="*/ 320 w 548"/>
                  <a:gd name="T7" fmla="*/ 296 h 416"/>
                  <a:gd name="T8" fmla="*/ 270 w 548"/>
                  <a:gd name="T9" fmla="*/ 264 h 416"/>
                  <a:gd name="T10" fmla="*/ 236 w 548"/>
                  <a:gd name="T11" fmla="*/ 216 h 416"/>
                  <a:gd name="T12" fmla="*/ 202 w 548"/>
                  <a:gd name="T13" fmla="*/ 200 h 416"/>
                  <a:gd name="T14" fmla="*/ 219 w 548"/>
                  <a:gd name="T15" fmla="*/ 152 h 416"/>
                  <a:gd name="T16" fmla="*/ 236 w 548"/>
                  <a:gd name="T17" fmla="*/ 152 h 416"/>
                  <a:gd name="T18" fmla="*/ 270 w 548"/>
                  <a:gd name="T19" fmla="*/ 168 h 416"/>
                  <a:gd name="T20" fmla="*/ 278 w 548"/>
                  <a:gd name="T21" fmla="*/ 144 h 416"/>
                  <a:gd name="T22" fmla="*/ 312 w 548"/>
                  <a:gd name="T23" fmla="*/ 136 h 416"/>
                  <a:gd name="T24" fmla="*/ 354 w 548"/>
                  <a:gd name="T25" fmla="*/ 144 h 416"/>
                  <a:gd name="T26" fmla="*/ 404 w 548"/>
                  <a:gd name="T27" fmla="*/ 152 h 416"/>
                  <a:gd name="T28" fmla="*/ 438 w 548"/>
                  <a:gd name="T29" fmla="*/ 144 h 416"/>
                  <a:gd name="T30" fmla="*/ 472 w 548"/>
                  <a:gd name="T31" fmla="*/ 152 h 416"/>
                  <a:gd name="T32" fmla="*/ 522 w 548"/>
                  <a:gd name="T33" fmla="*/ 160 h 416"/>
                  <a:gd name="T34" fmla="*/ 522 w 548"/>
                  <a:gd name="T35" fmla="*/ 128 h 416"/>
                  <a:gd name="T36" fmla="*/ 548 w 548"/>
                  <a:gd name="T37" fmla="*/ 120 h 416"/>
                  <a:gd name="T38" fmla="*/ 522 w 548"/>
                  <a:gd name="T39" fmla="*/ 112 h 416"/>
                  <a:gd name="T40" fmla="*/ 497 w 548"/>
                  <a:gd name="T41" fmla="*/ 80 h 416"/>
                  <a:gd name="T42" fmla="*/ 480 w 548"/>
                  <a:gd name="T43" fmla="*/ 48 h 416"/>
                  <a:gd name="T44" fmla="*/ 421 w 548"/>
                  <a:gd name="T45" fmla="*/ 72 h 416"/>
                  <a:gd name="T46" fmla="*/ 388 w 548"/>
                  <a:gd name="T47" fmla="*/ 72 h 416"/>
                  <a:gd name="T48" fmla="*/ 379 w 548"/>
                  <a:gd name="T49" fmla="*/ 48 h 416"/>
                  <a:gd name="T50" fmla="*/ 345 w 548"/>
                  <a:gd name="T51" fmla="*/ 56 h 416"/>
                  <a:gd name="T52" fmla="*/ 320 w 548"/>
                  <a:gd name="T53" fmla="*/ 40 h 416"/>
                  <a:gd name="T54" fmla="*/ 295 w 548"/>
                  <a:gd name="T55" fmla="*/ 16 h 416"/>
                  <a:gd name="T56" fmla="*/ 261 w 548"/>
                  <a:gd name="T57" fmla="*/ 0 h 416"/>
                  <a:gd name="T58" fmla="*/ 227 w 548"/>
                  <a:gd name="T59" fmla="*/ 8 h 416"/>
                  <a:gd name="T60" fmla="*/ 194 w 548"/>
                  <a:gd name="T61" fmla="*/ 48 h 416"/>
                  <a:gd name="T62" fmla="*/ 194 w 548"/>
                  <a:gd name="T63" fmla="*/ 88 h 416"/>
                  <a:gd name="T64" fmla="*/ 160 w 548"/>
                  <a:gd name="T65" fmla="*/ 96 h 416"/>
                  <a:gd name="T66" fmla="*/ 143 w 548"/>
                  <a:gd name="T67" fmla="*/ 128 h 416"/>
                  <a:gd name="T68" fmla="*/ 109 w 548"/>
                  <a:gd name="T69" fmla="*/ 120 h 416"/>
                  <a:gd name="T70" fmla="*/ 84 w 548"/>
                  <a:gd name="T71" fmla="*/ 104 h 416"/>
                  <a:gd name="T72" fmla="*/ 42 w 548"/>
                  <a:gd name="T73" fmla="*/ 136 h 416"/>
                  <a:gd name="T74" fmla="*/ 8 w 548"/>
                  <a:gd name="T75" fmla="*/ 144 h 416"/>
                  <a:gd name="T76" fmla="*/ 0 w 548"/>
                  <a:gd name="T77" fmla="*/ 144 h 416"/>
                  <a:gd name="T78" fmla="*/ 0 w 548"/>
                  <a:gd name="T79" fmla="*/ 152 h 416"/>
                  <a:gd name="T80" fmla="*/ 34 w 548"/>
                  <a:gd name="T81" fmla="*/ 216 h 416"/>
                  <a:gd name="T82" fmla="*/ 84 w 548"/>
                  <a:gd name="T83" fmla="*/ 152 h 416"/>
                  <a:gd name="T84" fmla="*/ 84 w 548"/>
                  <a:gd name="T85" fmla="*/ 216 h 416"/>
                  <a:gd name="T86" fmla="*/ 126 w 548"/>
                  <a:gd name="T87" fmla="*/ 192 h 416"/>
                  <a:gd name="T88" fmla="*/ 126 w 548"/>
                  <a:gd name="T89" fmla="*/ 240 h 416"/>
                  <a:gd name="T90" fmla="*/ 177 w 548"/>
                  <a:gd name="T91" fmla="*/ 264 h 416"/>
                  <a:gd name="T92" fmla="*/ 160 w 548"/>
                  <a:gd name="T93" fmla="*/ 272 h 416"/>
                  <a:gd name="T94" fmla="*/ 219 w 548"/>
                  <a:gd name="T95" fmla="*/ 312 h 416"/>
                  <a:gd name="T96" fmla="*/ 227 w 548"/>
                  <a:gd name="T97" fmla="*/ 336 h 416"/>
                  <a:gd name="T98" fmla="*/ 253 w 548"/>
                  <a:gd name="T99" fmla="*/ 352 h 416"/>
                  <a:gd name="T100" fmla="*/ 312 w 548"/>
                  <a:gd name="T101" fmla="*/ 360 h 416"/>
                  <a:gd name="T102" fmla="*/ 371 w 548"/>
                  <a:gd name="T103" fmla="*/ 384 h 416"/>
                  <a:gd name="T104" fmla="*/ 312 w 548"/>
                  <a:gd name="T105" fmla="*/ 392 h 416"/>
                  <a:gd name="T106" fmla="*/ 413 w 548"/>
                  <a:gd name="T107" fmla="*/ 416 h 416"/>
                  <a:gd name="T108" fmla="*/ 413 w 548"/>
                  <a:gd name="T109" fmla="*/ 384 h 416"/>
                  <a:gd name="T110" fmla="*/ 388 w 548"/>
                  <a:gd name="T111" fmla="*/ 360 h 41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48" h="416">
                    <a:moveTo>
                      <a:pt x="388" y="360"/>
                    </a:moveTo>
                    <a:lnTo>
                      <a:pt x="379" y="344"/>
                    </a:lnTo>
                    <a:lnTo>
                      <a:pt x="345" y="328"/>
                    </a:lnTo>
                    <a:lnTo>
                      <a:pt x="320" y="296"/>
                    </a:lnTo>
                    <a:lnTo>
                      <a:pt x="270" y="264"/>
                    </a:lnTo>
                    <a:lnTo>
                      <a:pt x="236" y="216"/>
                    </a:lnTo>
                    <a:lnTo>
                      <a:pt x="202" y="200"/>
                    </a:lnTo>
                    <a:lnTo>
                      <a:pt x="219" y="152"/>
                    </a:lnTo>
                    <a:lnTo>
                      <a:pt x="236" y="152"/>
                    </a:lnTo>
                    <a:lnTo>
                      <a:pt x="270" y="168"/>
                    </a:lnTo>
                    <a:lnTo>
                      <a:pt x="278" y="144"/>
                    </a:lnTo>
                    <a:lnTo>
                      <a:pt x="312" y="136"/>
                    </a:lnTo>
                    <a:lnTo>
                      <a:pt x="354" y="144"/>
                    </a:lnTo>
                    <a:lnTo>
                      <a:pt x="404" y="152"/>
                    </a:lnTo>
                    <a:lnTo>
                      <a:pt x="438" y="144"/>
                    </a:lnTo>
                    <a:lnTo>
                      <a:pt x="472" y="152"/>
                    </a:lnTo>
                    <a:lnTo>
                      <a:pt x="522" y="160"/>
                    </a:lnTo>
                    <a:lnTo>
                      <a:pt x="522" y="128"/>
                    </a:lnTo>
                    <a:lnTo>
                      <a:pt x="548" y="120"/>
                    </a:lnTo>
                    <a:lnTo>
                      <a:pt x="522" y="112"/>
                    </a:lnTo>
                    <a:lnTo>
                      <a:pt x="497" y="80"/>
                    </a:lnTo>
                    <a:lnTo>
                      <a:pt x="480" y="48"/>
                    </a:lnTo>
                    <a:lnTo>
                      <a:pt x="421" y="72"/>
                    </a:lnTo>
                    <a:lnTo>
                      <a:pt x="388" y="72"/>
                    </a:lnTo>
                    <a:lnTo>
                      <a:pt x="379" y="48"/>
                    </a:lnTo>
                    <a:lnTo>
                      <a:pt x="345" y="56"/>
                    </a:lnTo>
                    <a:lnTo>
                      <a:pt x="320" y="40"/>
                    </a:lnTo>
                    <a:lnTo>
                      <a:pt x="295" y="16"/>
                    </a:lnTo>
                    <a:lnTo>
                      <a:pt x="261" y="0"/>
                    </a:lnTo>
                    <a:lnTo>
                      <a:pt x="227" y="8"/>
                    </a:lnTo>
                    <a:lnTo>
                      <a:pt x="194" y="48"/>
                    </a:lnTo>
                    <a:lnTo>
                      <a:pt x="194" y="88"/>
                    </a:lnTo>
                    <a:lnTo>
                      <a:pt x="160" y="96"/>
                    </a:lnTo>
                    <a:lnTo>
                      <a:pt x="143" y="128"/>
                    </a:lnTo>
                    <a:lnTo>
                      <a:pt x="109" y="120"/>
                    </a:lnTo>
                    <a:lnTo>
                      <a:pt x="84" y="104"/>
                    </a:lnTo>
                    <a:lnTo>
                      <a:pt x="42" y="136"/>
                    </a:lnTo>
                    <a:lnTo>
                      <a:pt x="8" y="144"/>
                    </a:lnTo>
                    <a:lnTo>
                      <a:pt x="0" y="144"/>
                    </a:lnTo>
                    <a:lnTo>
                      <a:pt x="0" y="152"/>
                    </a:lnTo>
                    <a:lnTo>
                      <a:pt x="34" y="216"/>
                    </a:lnTo>
                    <a:lnTo>
                      <a:pt x="84" y="152"/>
                    </a:lnTo>
                    <a:lnTo>
                      <a:pt x="84" y="216"/>
                    </a:lnTo>
                    <a:lnTo>
                      <a:pt x="126" y="192"/>
                    </a:lnTo>
                    <a:lnTo>
                      <a:pt x="126" y="240"/>
                    </a:lnTo>
                    <a:lnTo>
                      <a:pt x="177" y="264"/>
                    </a:lnTo>
                    <a:lnTo>
                      <a:pt x="160" y="272"/>
                    </a:lnTo>
                    <a:lnTo>
                      <a:pt x="219" y="312"/>
                    </a:lnTo>
                    <a:lnTo>
                      <a:pt x="227" y="336"/>
                    </a:lnTo>
                    <a:lnTo>
                      <a:pt x="253" y="352"/>
                    </a:lnTo>
                    <a:lnTo>
                      <a:pt x="312" y="360"/>
                    </a:lnTo>
                    <a:lnTo>
                      <a:pt x="371" y="384"/>
                    </a:lnTo>
                    <a:lnTo>
                      <a:pt x="312" y="392"/>
                    </a:lnTo>
                    <a:lnTo>
                      <a:pt x="413" y="416"/>
                    </a:lnTo>
                    <a:lnTo>
                      <a:pt x="413" y="384"/>
                    </a:lnTo>
                    <a:lnTo>
                      <a:pt x="388" y="36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53">
                <a:extLst>
                  <a:ext uri="{FF2B5EF4-FFF2-40B4-BE49-F238E27FC236}">
                    <a16:creationId xmlns:a16="http://schemas.microsoft.com/office/drawing/2014/main" id="{B7AA1C67-B600-3948-EF24-FA51D07B0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0614" y="5191300"/>
                <a:ext cx="541673" cy="446740"/>
              </a:xfrm>
              <a:custGeom>
                <a:avLst/>
                <a:gdLst>
                  <a:gd name="T0" fmla="*/ 287 w 388"/>
                  <a:gd name="T1" fmla="*/ 264 h 320"/>
                  <a:gd name="T2" fmla="*/ 312 w 388"/>
                  <a:gd name="T3" fmla="*/ 248 h 320"/>
                  <a:gd name="T4" fmla="*/ 320 w 388"/>
                  <a:gd name="T5" fmla="*/ 216 h 320"/>
                  <a:gd name="T6" fmla="*/ 346 w 388"/>
                  <a:gd name="T7" fmla="*/ 216 h 320"/>
                  <a:gd name="T8" fmla="*/ 337 w 388"/>
                  <a:gd name="T9" fmla="*/ 192 h 320"/>
                  <a:gd name="T10" fmla="*/ 388 w 388"/>
                  <a:gd name="T11" fmla="*/ 176 h 320"/>
                  <a:gd name="T12" fmla="*/ 362 w 388"/>
                  <a:gd name="T13" fmla="*/ 136 h 320"/>
                  <a:gd name="T14" fmla="*/ 388 w 388"/>
                  <a:gd name="T15" fmla="*/ 120 h 320"/>
                  <a:gd name="T16" fmla="*/ 346 w 388"/>
                  <a:gd name="T17" fmla="*/ 96 h 320"/>
                  <a:gd name="T18" fmla="*/ 337 w 388"/>
                  <a:gd name="T19" fmla="*/ 64 h 320"/>
                  <a:gd name="T20" fmla="*/ 337 w 388"/>
                  <a:gd name="T21" fmla="*/ 32 h 320"/>
                  <a:gd name="T22" fmla="*/ 304 w 388"/>
                  <a:gd name="T23" fmla="*/ 32 h 320"/>
                  <a:gd name="T24" fmla="*/ 295 w 388"/>
                  <a:gd name="T25" fmla="*/ 16 h 320"/>
                  <a:gd name="T26" fmla="*/ 270 w 388"/>
                  <a:gd name="T27" fmla="*/ 16 h 320"/>
                  <a:gd name="T28" fmla="*/ 236 w 388"/>
                  <a:gd name="T29" fmla="*/ 8 h 320"/>
                  <a:gd name="T30" fmla="*/ 202 w 388"/>
                  <a:gd name="T31" fmla="*/ 16 h 320"/>
                  <a:gd name="T32" fmla="*/ 152 w 388"/>
                  <a:gd name="T33" fmla="*/ 8 h 320"/>
                  <a:gd name="T34" fmla="*/ 110 w 388"/>
                  <a:gd name="T35" fmla="*/ 0 h 320"/>
                  <a:gd name="T36" fmla="*/ 76 w 388"/>
                  <a:gd name="T37" fmla="*/ 8 h 320"/>
                  <a:gd name="T38" fmla="*/ 68 w 388"/>
                  <a:gd name="T39" fmla="*/ 32 h 320"/>
                  <a:gd name="T40" fmla="*/ 34 w 388"/>
                  <a:gd name="T41" fmla="*/ 16 h 320"/>
                  <a:gd name="T42" fmla="*/ 17 w 388"/>
                  <a:gd name="T43" fmla="*/ 16 h 320"/>
                  <a:gd name="T44" fmla="*/ 0 w 388"/>
                  <a:gd name="T45" fmla="*/ 64 h 320"/>
                  <a:gd name="T46" fmla="*/ 34 w 388"/>
                  <a:gd name="T47" fmla="*/ 80 h 320"/>
                  <a:gd name="T48" fmla="*/ 68 w 388"/>
                  <a:gd name="T49" fmla="*/ 128 h 320"/>
                  <a:gd name="T50" fmla="*/ 118 w 388"/>
                  <a:gd name="T51" fmla="*/ 160 h 320"/>
                  <a:gd name="T52" fmla="*/ 143 w 388"/>
                  <a:gd name="T53" fmla="*/ 192 h 320"/>
                  <a:gd name="T54" fmla="*/ 177 w 388"/>
                  <a:gd name="T55" fmla="*/ 208 h 320"/>
                  <a:gd name="T56" fmla="*/ 186 w 388"/>
                  <a:gd name="T57" fmla="*/ 224 h 320"/>
                  <a:gd name="T58" fmla="*/ 211 w 388"/>
                  <a:gd name="T59" fmla="*/ 248 h 320"/>
                  <a:gd name="T60" fmla="*/ 211 w 388"/>
                  <a:gd name="T61" fmla="*/ 280 h 320"/>
                  <a:gd name="T62" fmla="*/ 295 w 388"/>
                  <a:gd name="T63" fmla="*/ 320 h 320"/>
                  <a:gd name="T64" fmla="*/ 295 w 388"/>
                  <a:gd name="T65" fmla="*/ 280 h 320"/>
                  <a:gd name="T66" fmla="*/ 287 w 388"/>
                  <a:gd name="T67" fmla="*/ 264 h 32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88" h="320">
                    <a:moveTo>
                      <a:pt x="287" y="264"/>
                    </a:moveTo>
                    <a:lnTo>
                      <a:pt x="312" y="248"/>
                    </a:lnTo>
                    <a:lnTo>
                      <a:pt x="320" y="216"/>
                    </a:lnTo>
                    <a:lnTo>
                      <a:pt x="346" y="216"/>
                    </a:lnTo>
                    <a:lnTo>
                      <a:pt x="337" y="192"/>
                    </a:lnTo>
                    <a:lnTo>
                      <a:pt x="388" y="176"/>
                    </a:lnTo>
                    <a:lnTo>
                      <a:pt x="362" y="136"/>
                    </a:lnTo>
                    <a:lnTo>
                      <a:pt x="388" y="120"/>
                    </a:lnTo>
                    <a:lnTo>
                      <a:pt x="346" y="96"/>
                    </a:lnTo>
                    <a:lnTo>
                      <a:pt x="337" y="64"/>
                    </a:lnTo>
                    <a:lnTo>
                      <a:pt x="337" y="32"/>
                    </a:lnTo>
                    <a:lnTo>
                      <a:pt x="304" y="32"/>
                    </a:lnTo>
                    <a:lnTo>
                      <a:pt x="295" y="16"/>
                    </a:lnTo>
                    <a:lnTo>
                      <a:pt x="270" y="16"/>
                    </a:lnTo>
                    <a:lnTo>
                      <a:pt x="236" y="8"/>
                    </a:lnTo>
                    <a:lnTo>
                      <a:pt x="202" y="16"/>
                    </a:lnTo>
                    <a:lnTo>
                      <a:pt x="152" y="8"/>
                    </a:lnTo>
                    <a:lnTo>
                      <a:pt x="110" y="0"/>
                    </a:lnTo>
                    <a:lnTo>
                      <a:pt x="76" y="8"/>
                    </a:lnTo>
                    <a:lnTo>
                      <a:pt x="68" y="32"/>
                    </a:lnTo>
                    <a:lnTo>
                      <a:pt x="34" y="16"/>
                    </a:lnTo>
                    <a:lnTo>
                      <a:pt x="17" y="16"/>
                    </a:lnTo>
                    <a:lnTo>
                      <a:pt x="0" y="64"/>
                    </a:lnTo>
                    <a:lnTo>
                      <a:pt x="34" y="80"/>
                    </a:lnTo>
                    <a:lnTo>
                      <a:pt x="68" y="128"/>
                    </a:lnTo>
                    <a:lnTo>
                      <a:pt x="118" y="160"/>
                    </a:lnTo>
                    <a:lnTo>
                      <a:pt x="143" y="192"/>
                    </a:lnTo>
                    <a:lnTo>
                      <a:pt x="177" y="208"/>
                    </a:lnTo>
                    <a:lnTo>
                      <a:pt x="186" y="224"/>
                    </a:lnTo>
                    <a:lnTo>
                      <a:pt x="211" y="248"/>
                    </a:lnTo>
                    <a:lnTo>
                      <a:pt x="211" y="280"/>
                    </a:lnTo>
                    <a:lnTo>
                      <a:pt x="295" y="320"/>
                    </a:lnTo>
                    <a:lnTo>
                      <a:pt x="295" y="280"/>
                    </a:lnTo>
                    <a:lnTo>
                      <a:pt x="287" y="26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 54">
                <a:extLst>
                  <a:ext uri="{FF2B5EF4-FFF2-40B4-BE49-F238E27FC236}">
                    <a16:creationId xmlns:a16="http://schemas.microsoft.com/office/drawing/2014/main" id="{88ACB2F8-0196-8026-ECB6-13A4810253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5516" y="4588201"/>
                <a:ext cx="799945" cy="513752"/>
              </a:xfrm>
              <a:custGeom>
                <a:avLst/>
                <a:gdLst>
                  <a:gd name="T0" fmla="*/ 295 w 573"/>
                  <a:gd name="T1" fmla="*/ 320 h 368"/>
                  <a:gd name="T2" fmla="*/ 329 w 573"/>
                  <a:gd name="T3" fmla="*/ 304 h 368"/>
                  <a:gd name="T4" fmla="*/ 380 w 573"/>
                  <a:gd name="T5" fmla="*/ 304 h 368"/>
                  <a:gd name="T6" fmla="*/ 413 w 573"/>
                  <a:gd name="T7" fmla="*/ 288 h 368"/>
                  <a:gd name="T8" fmla="*/ 439 w 573"/>
                  <a:gd name="T9" fmla="*/ 272 h 368"/>
                  <a:gd name="T10" fmla="*/ 455 w 573"/>
                  <a:gd name="T11" fmla="*/ 264 h 368"/>
                  <a:gd name="T12" fmla="*/ 464 w 573"/>
                  <a:gd name="T13" fmla="*/ 224 h 368"/>
                  <a:gd name="T14" fmla="*/ 472 w 573"/>
                  <a:gd name="T15" fmla="*/ 200 h 368"/>
                  <a:gd name="T16" fmla="*/ 498 w 573"/>
                  <a:gd name="T17" fmla="*/ 168 h 368"/>
                  <a:gd name="T18" fmla="*/ 523 w 573"/>
                  <a:gd name="T19" fmla="*/ 112 h 368"/>
                  <a:gd name="T20" fmla="*/ 548 w 573"/>
                  <a:gd name="T21" fmla="*/ 72 h 368"/>
                  <a:gd name="T22" fmla="*/ 573 w 573"/>
                  <a:gd name="T23" fmla="*/ 48 h 368"/>
                  <a:gd name="T24" fmla="*/ 548 w 573"/>
                  <a:gd name="T25" fmla="*/ 24 h 368"/>
                  <a:gd name="T26" fmla="*/ 514 w 573"/>
                  <a:gd name="T27" fmla="*/ 0 h 368"/>
                  <a:gd name="T28" fmla="*/ 472 w 573"/>
                  <a:gd name="T29" fmla="*/ 8 h 368"/>
                  <a:gd name="T30" fmla="*/ 447 w 573"/>
                  <a:gd name="T31" fmla="*/ 0 h 368"/>
                  <a:gd name="T32" fmla="*/ 405 w 573"/>
                  <a:gd name="T33" fmla="*/ 8 h 368"/>
                  <a:gd name="T34" fmla="*/ 371 w 573"/>
                  <a:gd name="T35" fmla="*/ 8 h 368"/>
                  <a:gd name="T36" fmla="*/ 329 w 573"/>
                  <a:gd name="T37" fmla="*/ 56 h 368"/>
                  <a:gd name="T38" fmla="*/ 287 w 573"/>
                  <a:gd name="T39" fmla="*/ 48 h 368"/>
                  <a:gd name="T40" fmla="*/ 279 w 573"/>
                  <a:gd name="T41" fmla="*/ 64 h 368"/>
                  <a:gd name="T42" fmla="*/ 228 w 573"/>
                  <a:gd name="T43" fmla="*/ 80 h 368"/>
                  <a:gd name="T44" fmla="*/ 228 w 573"/>
                  <a:gd name="T45" fmla="*/ 112 h 368"/>
                  <a:gd name="T46" fmla="*/ 110 w 573"/>
                  <a:gd name="T47" fmla="*/ 128 h 368"/>
                  <a:gd name="T48" fmla="*/ 85 w 573"/>
                  <a:gd name="T49" fmla="*/ 112 h 368"/>
                  <a:gd name="T50" fmla="*/ 68 w 573"/>
                  <a:gd name="T51" fmla="*/ 104 h 368"/>
                  <a:gd name="T52" fmla="*/ 68 w 573"/>
                  <a:gd name="T53" fmla="*/ 128 h 368"/>
                  <a:gd name="T54" fmla="*/ 26 w 573"/>
                  <a:gd name="T55" fmla="*/ 144 h 368"/>
                  <a:gd name="T56" fmla="*/ 26 w 573"/>
                  <a:gd name="T57" fmla="*/ 184 h 368"/>
                  <a:gd name="T58" fmla="*/ 17 w 573"/>
                  <a:gd name="T59" fmla="*/ 224 h 368"/>
                  <a:gd name="T60" fmla="*/ 0 w 573"/>
                  <a:gd name="T61" fmla="*/ 240 h 368"/>
                  <a:gd name="T62" fmla="*/ 43 w 573"/>
                  <a:gd name="T63" fmla="*/ 288 h 368"/>
                  <a:gd name="T64" fmla="*/ 34 w 573"/>
                  <a:gd name="T65" fmla="*/ 296 h 368"/>
                  <a:gd name="T66" fmla="*/ 68 w 573"/>
                  <a:gd name="T67" fmla="*/ 312 h 368"/>
                  <a:gd name="T68" fmla="*/ 93 w 573"/>
                  <a:gd name="T69" fmla="*/ 336 h 368"/>
                  <a:gd name="T70" fmla="*/ 118 w 573"/>
                  <a:gd name="T71" fmla="*/ 352 h 368"/>
                  <a:gd name="T72" fmla="*/ 152 w 573"/>
                  <a:gd name="T73" fmla="*/ 344 h 368"/>
                  <a:gd name="T74" fmla="*/ 161 w 573"/>
                  <a:gd name="T75" fmla="*/ 368 h 368"/>
                  <a:gd name="T76" fmla="*/ 194 w 573"/>
                  <a:gd name="T77" fmla="*/ 368 h 368"/>
                  <a:gd name="T78" fmla="*/ 253 w 573"/>
                  <a:gd name="T79" fmla="*/ 344 h 368"/>
                  <a:gd name="T80" fmla="*/ 262 w 573"/>
                  <a:gd name="T81" fmla="*/ 344 h 368"/>
                  <a:gd name="T82" fmla="*/ 270 w 573"/>
                  <a:gd name="T83" fmla="*/ 320 h 368"/>
                  <a:gd name="T84" fmla="*/ 295 w 573"/>
                  <a:gd name="T85" fmla="*/ 320 h 36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73" h="368">
                    <a:moveTo>
                      <a:pt x="295" y="320"/>
                    </a:moveTo>
                    <a:lnTo>
                      <a:pt x="329" y="304"/>
                    </a:lnTo>
                    <a:lnTo>
                      <a:pt x="380" y="304"/>
                    </a:lnTo>
                    <a:lnTo>
                      <a:pt x="413" y="288"/>
                    </a:lnTo>
                    <a:lnTo>
                      <a:pt x="439" y="272"/>
                    </a:lnTo>
                    <a:lnTo>
                      <a:pt x="455" y="264"/>
                    </a:lnTo>
                    <a:lnTo>
                      <a:pt x="464" y="224"/>
                    </a:lnTo>
                    <a:lnTo>
                      <a:pt x="472" y="200"/>
                    </a:lnTo>
                    <a:lnTo>
                      <a:pt x="498" y="168"/>
                    </a:lnTo>
                    <a:lnTo>
                      <a:pt x="523" y="112"/>
                    </a:lnTo>
                    <a:lnTo>
                      <a:pt x="548" y="72"/>
                    </a:lnTo>
                    <a:lnTo>
                      <a:pt x="573" y="48"/>
                    </a:lnTo>
                    <a:lnTo>
                      <a:pt x="548" y="24"/>
                    </a:lnTo>
                    <a:lnTo>
                      <a:pt x="514" y="0"/>
                    </a:lnTo>
                    <a:lnTo>
                      <a:pt x="472" y="8"/>
                    </a:lnTo>
                    <a:lnTo>
                      <a:pt x="447" y="0"/>
                    </a:lnTo>
                    <a:lnTo>
                      <a:pt x="405" y="8"/>
                    </a:lnTo>
                    <a:lnTo>
                      <a:pt x="371" y="8"/>
                    </a:lnTo>
                    <a:lnTo>
                      <a:pt x="329" y="56"/>
                    </a:lnTo>
                    <a:lnTo>
                      <a:pt x="287" y="48"/>
                    </a:lnTo>
                    <a:lnTo>
                      <a:pt x="279" y="64"/>
                    </a:lnTo>
                    <a:lnTo>
                      <a:pt x="228" y="80"/>
                    </a:lnTo>
                    <a:lnTo>
                      <a:pt x="228" y="112"/>
                    </a:lnTo>
                    <a:lnTo>
                      <a:pt x="110" y="128"/>
                    </a:lnTo>
                    <a:lnTo>
                      <a:pt x="85" y="112"/>
                    </a:lnTo>
                    <a:lnTo>
                      <a:pt x="68" y="104"/>
                    </a:lnTo>
                    <a:lnTo>
                      <a:pt x="68" y="128"/>
                    </a:lnTo>
                    <a:lnTo>
                      <a:pt x="26" y="144"/>
                    </a:lnTo>
                    <a:lnTo>
                      <a:pt x="26" y="184"/>
                    </a:lnTo>
                    <a:lnTo>
                      <a:pt x="17" y="224"/>
                    </a:lnTo>
                    <a:lnTo>
                      <a:pt x="0" y="240"/>
                    </a:lnTo>
                    <a:lnTo>
                      <a:pt x="43" y="288"/>
                    </a:lnTo>
                    <a:lnTo>
                      <a:pt x="34" y="296"/>
                    </a:lnTo>
                    <a:lnTo>
                      <a:pt x="68" y="312"/>
                    </a:lnTo>
                    <a:lnTo>
                      <a:pt x="93" y="336"/>
                    </a:lnTo>
                    <a:lnTo>
                      <a:pt x="118" y="352"/>
                    </a:lnTo>
                    <a:lnTo>
                      <a:pt x="152" y="344"/>
                    </a:lnTo>
                    <a:lnTo>
                      <a:pt x="161" y="368"/>
                    </a:lnTo>
                    <a:lnTo>
                      <a:pt x="194" y="368"/>
                    </a:lnTo>
                    <a:lnTo>
                      <a:pt x="253" y="344"/>
                    </a:lnTo>
                    <a:lnTo>
                      <a:pt x="262" y="344"/>
                    </a:lnTo>
                    <a:lnTo>
                      <a:pt x="270" y="320"/>
                    </a:lnTo>
                    <a:lnTo>
                      <a:pt x="295" y="32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 55">
                <a:extLst>
                  <a:ext uri="{FF2B5EF4-FFF2-40B4-BE49-F238E27FC236}">
                    <a16:creationId xmlns:a16="http://schemas.microsoft.com/office/drawing/2014/main" id="{FB847F24-E31C-EAE5-AF59-814F9A3E2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0614" y="5191300"/>
                <a:ext cx="541673" cy="446740"/>
              </a:xfrm>
              <a:custGeom>
                <a:avLst/>
                <a:gdLst>
                  <a:gd name="T0" fmla="*/ 287 w 388"/>
                  <a:gd name="T1" fmla="*/ 264 h 320"/>
                  <a:gd name="T2" fmla="*/ 312 w 388"/>
                  <a:gd name="T3" fmla="*/ 248 h 320"/>
                  <a:gd name="T4" fmla="*/ 320 w 388"/>
                  <a:gd name="T5" fmla="*/ 216 h 320"/>
                  <a:gd name="T6" fmla="*/ 346 w 388"/>
                  <a:gd name="T7" fmla="*/ 216 h 320"/>
                  <a:gd name="T8" fmla="*/ 337 w 388"/>
                  <a:gd name="T9" fmla="*/ 192 h 320"/>
                  <a:gd name="T10" fmla="*/ 388 w 388"/>
                  <a:gd name="T11" fmla="*/ 176 h 320"/>
                  <a:gd name="T12" fmla="*/ 362 w 388"/>
                  <a:gd name="T13" fmla="*/ 136 h 320"/>
                  <a:gd name="T14" fmla="*/ 388 w 388"/>
                  <a:gd name="T15" fmla="*/ 120 h 320"/>
                  <a:gd name="T16" fmla="*/ 346 w 388"/>
                  <a:gd name="T17" fmla="*/ 96 h 320"/>
                  <a:gd name="T18" fmla="*/ 337 w 388"/>
                  <a:gd name="T19" fmla="*/ 64 h 320"/>
                  <a:gd name="T20" fmla="*/ 337 w 388"/>
                  <a:gd name="T21" fmla="*/ 32 h 320"/>
                  <a:gd name="T22" fmla="*/ 304 w 388"/>
                  <a:gd name="T23" fmla="*/ 32 h 320"/>
                  <a:gd name="T24" fmla="*/ 295 w 388"/>
                  <a:gd name="T25" fmla="*/ 16 h 320"/>
                  <a:gd name="T26" fmla="*/ 270 w 388"/>
                  <a:gd name="T27" fmla="*/ 16 h 320"/>
                  <a:gd name="T28" fmla="*/ 236 w 388"/>
                  <a:gd name="T29" fmla="*/ 8 h 320"/>
                  <a:gd name="T30" fmla="*/ 202 w 388"/>
                  <a:gd name="T31" fmla="*/ 16 h 320"/>
                  <a:gd name="T32" fmla="*/ 152 w 388"/>
                  <a:gd name="T33" fmla="*/ 8 h 320"/>
                  <a:gd name="T34" fmla="*/ 110 w 388"/>
                  <a:gd name="T35" fmla="*/ 0 h 320"/>
                  <a:gd name="T36" fmla="*/ 76 w 388"/>
                  <a:gd name="T37" fmla="*/ 8 h 320"/>
                  <a:gd name="T38" fmla="*/ 68 w 388"/>
                  <a:gd name="T39" fmla="*/ 32 h 320"/>
                  <a:gd name="T40" fmla="*/ 34 w 388"/>
                  <a:gd name="T41" fmla="*/ 16 h 320"/>
                  <a:gd name="T42" fmla="*/ 17 w 388"/>
                  <a:gd name="T43" fmla="*/ 16 h 320"/>
                  <a:gd name="T44" fmla="*/ 0 w 388"/>
                  <a:gd name="T45" fmla="*/ 64 h 320"/>
                  <a:gd name="T46" fmla="*/ 34 w 388"/>
                  <a:gd name="T47" fmla="*/ 80 h 320"/>
                  <a:gd name="T48" fmla="*/ 68 w 388"/>
                  <a:gd name="T49" fmla="*/ 128 h 320"/>
                  <a:gd name="T50" fmla="*/ 118 w 388"/>
                  <a:gd name="T51" fmla="*/ 160 h 320"/>
                  <a:gd name="T52" fmla="*/ 143 w 388"/>
                  <a:gd name="T53" fmla="*/ 192 h 320"/>
                  <a:gd name="T54" fmla="*/ 177 w 388"/>
                  <a:gd name="T55" fmla="*/ 208 h 320"/>
                  <a:gd name="T56" fmla="*/ 186 w 388"/>
                  <a:gd name="T57" fmla="*/ 224 h 320"/>
                  <a:gd name="T58" fmla="*/ 211 w 388"/>
                  <a:gd name="T59" fmla="*/ 248 h 320"/>
                  <a:gd name="T60" fmla="*/ 211 w 388"/>
                  <a:gd name="T61" fmla="*/ 280 h 320"/>
                  <a:gd name="T62" fmla="*/ 295 w 388"/>
                  <a:gd name="T63" fmla="*/ 320 h 320"/>
                  <a:gd name="T64" fmla="*/ 295 w 388"/>
                  <a:gd name="T65" fmla="*/ 280 h 320"/>
                  <a:gd name="T66" fmla="*/ 287 w 388"/>
                  <a:gd name="T67" fmla="*/ 264 h 32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88" h="320">
                    <a:moveTo>
                      <a:pt x="287" y="264"/>
                    </a:moveTo>
                    <a:lnTo>
                      <a:pt x="312" y="248"/>
                    </a:lnTo>
                    <a:lnTo>
                      <a:pt x="320" y="216"/>
                    </a:lnTo>
                    <a:lnTo>
                      <a:pt x="346" y="216"/>
                    </a:lnTo>
                    <a:lnTo>
                      <a:pt x="337" y="192"/>
                    </a:lnTo>
                    <a:lnTo>
                      <a:pt x="388" y="176"/>
                    </a:lnTo>
                    <a:lnTo>
                      <a:pt x="362" y="136"/>
                    </a:lnTo>
                    <a:lnTo>
                      <a:pt x="388" y="120"/>
                    </a:lnTo>
                    <a:lnTo>
                      <a:pt x="346" y="96"/>
                    </a:lnTo>
                    <a:lnTo>
                      <a:pt x="337" y="64"/>
                    </a:lnTo>
                    <a:lnTo>
                      <a:pt x="337" y="32"/>
                    </a:lnTo>
                    <a:lnTo>
                      <a:pt x="304" y="32"/>
                    </a:lnTo>
                    <a:lnTo>
                      <a:pt x="295" y="16"/>
                    </a:lnTo>
                    <a:lnTo>
                      <a:pt x="270" y="16"/>
                    </a:lnTo>
                    <a:lnTo>
                      <a:pt x="236" y="8"/>
                    </a:lnTo>
                    <a:lnTo>
                      <a:pt x="202" y="16"/>
                    </a:lnTo>
                    <a:lnTo>
                      <a:pt x="152" y="8"/>
                    </a:lnTo>
                    <a:lnTo>
                      <a:pt x="110" y="0"/>
                    </a:lnTo>
                    <a:lnTo>
                      <a:pt x="76" y="8"/>
                    </a:lnTo>
                    <a:lnTo>
                      <a:pt x="68" y="32"/>
                    </a:lnTo>
                    <a:lnTo>
                      <a:pt x="34" y="16"/>
                    </a:lnTo>
                    <a:lnTo>
                      <a:pt x="17" y="16"/>
                    </a:lnTo>
                    <a:lnTo>
                      <a:pt x="0" y="64"/>
                    </a:lnTo>
                    <a:lnTo>
                      <a:pt x="34" y="80"/>
                    </a:lnTo>
                    <a:lnTo>
                      <a:pt x="68" y="128"/>
                    </a:lnTo>
                    <a:lnTo>
                      <a:pt x="118" y="160"/>
                    </a:lnTo>
                    <a:lnTo>
                      <a:pt x="143" y="192"/>
                    </a:lnTo>
                    <a:lnTo>
                      <a:pt x="177" y="208"/>
                    </a:lnTo>
                    <a:lnTo>
                      <a:pt x="186" y="224"/>
                    </a:lnTo>
                    <a:lnTo>
                      <a:pt x="211" y="248"/>
                    </a:lnTo>
                    <a:lnTo>
                      <a:pt x="211" y="280"/>
                    </a:lnTo>
                    <a:lnTo>
                      <a:pt x="295" y="320"/>
                    </a:lnTo>
                    <a:lnTo>
                      <a:pt x="295" y="280"/>
                    </a:lnTo>
                    <a:lnTo>
                      <a:pt x="287" y="26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Freeform 56">
                <a:extLst>
                  <a:ext uri="{FF2B5EF4-FFF2-40B4-BE49-F238E27FC236}">
                    <a16:creationId xmlns:a16="http://schemas.microsoft.com/office/drawing/2014/main" id="{5EA41C23-3236-A272-4C0C-F9779BFDB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5516" y="4588201"/>
                <a:ext cx="799945" cy="513752"/>
              </a:xfrm>
              <a:custGeom>
                <a:avLst/>
                <a:gdLst>
                  <a:gd name="T0" fmla="*/ 295 w 573"/>
                  <a:gd name="T1" fmla="*/ 320 h 368"/>
                  <a:gd name="T2" fmla="*/ 329 w 573"/>
                  <a:gd name="T3" fmla="*/ 304 h 368"/>
                  <a:gd name="T4" fmla="*/ 380 w 573"/>
                  <a:gd name="T5" fmla="*/ 304 h 368"/>
                  <a:gd name="T6" fmla="*/ 413 w 573"/>
                  <a:gd name="T7" fmla="*/ 288 h 368"/>
                  <a:gd name="T8" fmla="*/ 439 w 573"/>
                  <a:gd name="T9" fmla="*/ 272 h 368"/>
                  <a:gd name="T10" fmla="*/ 455 w 573"/>
                  <a:gd name="T11" fmla="*/ 264 h 368"/>
                  <a:gd name="T12" fmla="*/ 464 w 573"/>
                  <a:gd name="T13" fmla="*/ 224 h 368"/>
                  <a:gd name="T14" fmla="*/ 472 w 573"/>
                  <a:gd name="T15" fmla="*/ 200 h 368"/>
                  <a:gd name="T16" fmla="*/ 498 w 573"/>
                  <a:gd name="T17" fmla="*/ 168 h 368"/>
                  <a:gd name="T18" fmla="*/ 523 w 573"/>
                  <a:gd name="T19" fmla="*/ 112 h 368"/>
                  <a:gd name="T20" fmla="*/ 548 w 573"/>
                  <a:gd name="T21" fmla="*/ 72 h 368"/>
                  <a:gd name="T22" fmla="*/ 573 w 573"/>
                  <a:gd name="T23" fmla="*/ 48 h 368"/>
                  <a:gd name="T24" fmla="*/ 548 w 573"/>
                  <a:gd name="T25" fmla="*/ 24 h 368"/>
                  <a:gd name="T26" fmla="*/ 514 w 573"/>
                  <a:gd name="T27" fmla="*/ 0 h 368"/>
                  <a:gd name="T28" fmla="*/ 472 w 573"/>
                  <a:gd name="T29" fmla="*/ 8 h 368"/>
                  <a:gd name="T30" fmla="*/ 447 w 573"/>
                  <a:gd name="T31" fmla="*/ 0 h 368"/>
                  <a:gd name="T32" fmla="*/ 405 w 573"/>
                  <a:gd name="T33" fmla="*/ 8 h 368"/>
                  <a:gd name="T34" fmla="*/ 371 w 573"/>
                  <a:gd name="T35" fmla="*/ 8 h 368"/>
                  <a:gd name="T36" fmla="*/ 329 w 573"/>
                  <a:gd name="T37" fmla="*/ 56 h 368"/>
                  <a:gd name="T38" fmla="*/ 287 w 573"/>
                  <a:gd name="T39" fmla="*/ 48 h 368"/>
                  <a:gd name="T40" fmla="*/ 279 w 573"/>
                  <a:gd name="T41" fmla="*/ 64 h 368"/>
                  <a:gd name="T42" fmla="*/ 228 w 573"/>
                  <a:gd name="T43" fmla="*/ 80 h 368"/>
                  <a:gd name="T44" fmla="*/ 228 w 573"/>
                  <a:gd name="T45" fmla="*/ 112 h 368"/>
                  <a:gd name="T46" fmla="*/ 110 w 573"/>
                  <a:gd name="T47" fmla="*/ 128 h 368"/>
                  <a:gd name="T48" fmla="*/ 85 w 573"/>
                  <a:gd name="T49" fmla="*/ 112 h 368"/>
                  <a:gd name="T50" fmla="*/ 68 w 573"/>
                  <a:gd name="T51" fmla="*/ 104 h 368"/>
                  <a:gd name="T52" fmla="*/ 68 w 573"/>
                  <a:gd name="T53" fmla="*/ 128 h 368"/>
                  <a:gd name="T54" fmla="*/ 26 w 573"/>
                  <a:gd name="T55" fmla="*/ 144 h 368"/>
                  <a:gd name="T56" fmla="*/ 26 w 573"/>
                  <a:gd name="T57" fmla="*/ 184 h 368"/>
                  <a:gd name="T58" fmla="*/ 17 w 573"/>
                  <a:gd name="T59" fmla="*/ 224 h 368"/>
                  <a:gd name="T60" fmla="*/ 0 w 573"/>
                  <a:gd name="T61" fmla="*/ 240 h 368"/>
                  <a:gd name="T62" fmla="*/ 43 w 573"/>
                  <a:gd name="T63" fmla="*/ 288 h 368"/>
                  <a:gd name="T64" fmla="*/ 34 w 573"/>
                  <a:gd name="T65" fmla="*/ 296 h 368"/>
                  <a:gd name="T66" fmla="*/ 68 w 573"/>
                  <a:gd name="T67" fmla="*/ 312 h 368"/>
                  <a:gd name="T68" fmla="*/ 93 w 573"/>
                  <a:gd name="T69" fmla="*/ 336 h 368"/>
                  <a:gd name="T70" fmla="*/ 118 w 573"/>
                  <a:gd name="T71" fmla="*/ 352 h 368"/>
                  <a:gd name="T72" fmla="*/ 152 w 573"/>
                  <a:gd name="T73" fmla="*/ 344 h 368"/>
                  <a:gd name="T74" fmla="*/ 161 w 573"/>
                  <a:gd name="T75" fmla="*/ 368 h 368"/>
                  <a:gd name="T76" fmla="*/ 194 w 573"/>
                  <a:gd name="T77" fmla="*/ 368 h 368"/>
                  <a:gd name="T78" fmla="*/ 253 w 573"/>
                  <a:gd name="T79" fmla="*/ 344 h 368"/>
                  <a:gd name="T80" fmla="*/ 262 w 573"/>
                  <a:gd name="T81" fmla="*/ 344 h 368"/>
                  <a:gd name="T82" fmla="*/ 270 w 573"/>
                  <a:gd name="T83" fmla="*/ 320 h 368"/>
                  <a:gd name="T84" fmla="*/ 295 w 573"/>
                  <a:gd name="T85" fmla="*/ 320 h 36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73" h="368">
                    <a:moveTo>
                      <a:pt x="295" y="320"/>
                    </a:moveTo>
                    <a:lnTo>
                      <a:pt x="329" y="304"/>
                    </a:lnTo>
                    <a:lnTo>
                      <a:pt x="380" y="304"/>
                    </a:lnTo>
                    <a:lnTo>
                      <a:pt x="413" y="288"/>
                    </a:lnTo>
                    <a:lnTo>
                      <a:pt x="439" y="272"/>
                    </a:lnTo>
                    <a:lnTo>
                      <a:pt x="455" y="264"/>
                    </a:lnTo>
                    <a:lnTo>
                      <a:pt x="464" y="224"/>
                    </a:lnTo>
                    <a:lnTo>
                      <a:pt x="472" y="200"/>
                    </a:lnTo>
                    <a:lnTo>
                      <a:pt x="498" y="168"/>
                    </a:lnTo>
                    <a:lnTo>
                      <a:pt x="523" y="112"/>
                    </a:lnTo>
                    <a:lnTo>
                      <a:pt x="548" y="72"/>
                    </a:lnTo>
                    <a:lnTo>
                      <a:pt x="573" y="48"/>
                    </a:lnTo>
                    <a:lnTo>
                      <a:pt x="548" y="24"/>
                    </a:lnTo>
                    <a:lnTo>
                      <a:pt x="514" y="0"/>
                    </a:lnTo>
                    <a:lnTo>
                      <a:pt x="472" y="8"/>
                    </a:lnTo>
                    <a:lnTo>
                      <a:pt x="447" y="0"/>
                    </a:lnTo>
                    <a:lnTo>
                      <a:pt x="405" y="8"/>
                    </a:lnTo>
                    <a:lnTo>
                      <a:pt x="371" y="8"/>
                    </a:lnTo>
                    <a:lnTo>
                      <a:pt x="329" y="56"/>
                    </a:lnTo>
                    <a:lnTo>
                      <a:pt x="287" y="48"/>
                    </a:lnTo>
                    <a:lnTo>
                      <a:pt x="279" y="64"/>
                    </a:lnTo>
                    <a:lnTo>
                      <a:pt x="228" y="80"/>
                    </a:lnTo>
                    <a:lnTo>
                      <a:pt x="228" y="112"/>
                    </a:lnTo>
                    <a:lnTo>
                      <a:pt x="110" y="128"/>
                    </a:lnTo>
                    <a:lnTo>
                      <a:pt x="85" y="112"/>
                    </a:lnTo>
                    <a:lnTo>
                      <a:pt x="68" y="104"/>
                    </a:lnTo>
                    <a:lnTo>
                      <a:pt x="68" y="128"/>
                    </a:lnTo>
                    <a:lnTo>
                      <a:pt x="26" y="144"/>
                    </a:lnTo>
                    <a:lnTo>
                      <a:pt x="26" y="184"/>
                    </a:lnTo>
                    <a:lnTo>
                      <a:pt x="17" y="224"/>
                    </a:lnTo>
                    <a:lnTo>
                      <a:pt x="0" y="240"/>
                    </a:lnTo>
                    <a:lnTo>
                      <a:pt x="43" y="288"/>
                    </a:lnTo>
                    <a:lnTo>
                      <a:pt x="34" y="296"/>
                    </a:lnTo>
                    <a:lnTo>
                      <a:pt x="68" y="312"/>
                    </a:lnTo>
                    <a:lnTo>
                      <a:pt x="93" y="336"/>
                    </a:lnTo>
                    <a:lnTo>
                      <a:pt x="118" y="352"/>
                    </a:lnTo>
                    <a:lnTo>
                      <a:pt x="152" y="344"/>
                    </a:lnTo>
                    <a:lnTo>
                      <a:pt x="161" y="368"/>
                    </a:lnTo>
                    <a:lnTo>
                      <a:pt x="194" y="368"/>
                    </a:lnTo>
                    <a:lnTo>
                      <a:pt x="253" y="344"/>
                    </a:lnTo>
                    <a:lnTo>
                      <a:pt x="262" y="344"/>
                    </a:lnTo>
                    <a:lnTo>
                      <a:pt x="270" y="320"/>
                    </a:lnTo>
                    <a:lnTo>
                      <a:pt x="295" y="32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Freeform 57">
                <a:extLst>
                  <a:ext uri="{FF2B5EF4-FFF2-40B4-BE49-F238E27FC236}">
                    <a16:creationId xmlns:a16="http://schemas.microsoft.com/office/drawing/2014/main" id="{0C535C86-CE1D-00C1-A423-75D972AB0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0725" y="4588201"/>
                <a:ext cx="36298" cy="11169"/>
              </a:xfrm>
              <a:custGeom>
                <a:avLst/>
                <a:gdLst>
                  <a:gd name="T0" fmla="*/ 17 w 26"/>
                  <a:gd name="T1" fmla="*/ 8 h 8"/>
                  <a:gd name="T2" fmla="*/ 26 w 26"/>
                  <a:gd name="T3" fmla="*/ 8 h 8"/>
                  <a:gd name="T4" fmla="*/ 0 w 26"/>
                  <a:gd name="T5" fmla="*/ 0 h 8"/>
                  <a:gd name="T6" fmla="*/ 17 w 26"/>
                  <a:gd name="T7" fmla="*/ 8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6" h="8">
                    <a:moveTo>
                      <a:pt x="17" y="8"/>
                    </a:moveTo>
                    <a:lnTo>
                      <a:pt x="26" y="8"/>
                    </a:lnTo>
                    <a:lnTo>
                      <a:pt x="0" y="0"/>
                    </a:lnTo>
                    <a:lnTo>
                      <a:pt x="17" y="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Freeform 58">
                <a:extLst>
                  <a:ext uri="{FF2B5EF4-FFF2-40B4-BE49-F238E27FC236}">
                    <a16:creationId xmlns:a16="http://schemas.microsoft.com/office/drawing/2014/main" id="{891BABF2-7FEC-AEB0-7063-CFEC5CBD7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7022" y="4599370"/>
                <a:ext cx="23733" cy="1396"/>
              </a:xfrm>
              <a:custGeom>
                <a:avLst/>
                <a:gdLst>
                  <a:gd name="T0" fmla="*/ 17 w 17"/>
                  <a:gd name="T1" fmla="*/ 0 h 1"/>
                  <a:gd name="T2" fmla="*/ 0 w 17"/>
                  <a:gd name="T3" fmla="*/ 0 h 1"/>
                  <a:gd name="T4" fmla="*/ 17 w 17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7" h="1">
                    <a:moveTo>
                      <a:pt x="17" y="0"/>
                    </a:moveTo>
                    <a:lnTo>
                      <a:pt x="0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Line 59">
                <a:extLst>
                  <a:ext uri="{FF2B5EF4-FFF2-40B4-BE49-F238E27FC236}">
                    <a16:creationId xmlns:a16="http://schemas.microsoft.com/office/drawing/2014/main" id="{D246F37D-6478-A1ED-FF10-396520A8C4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74458" y="4588201"/>
                <a:ext cx="36298" cy="11169"/>
              </a:xfrm>
              <a:prstGeom prst="line">
                <a:avLst/>
              </a:prstGeom>
              <a:grpFill/>
              <a:ln w="1270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Line 60">
                <a:extLst>
                  <a:ext uri="{FF2B5EF4-FFF2-40B4-BE49-F238E27FC236}">
                    <a16:creationId xmlns:a16="http://schemas.microsoft.com/office/drawing/2014/main" id="{9266182C-0F08-AE2E-7215-2ED0261BAB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74458" y="4588201"/>
                <a:ext cx="36298" cy="11169"/>
              </a:xfrm>
              <a:prstGeom prst="line">
                <a:avLst/>
              </a:prstGeom>
              <a:grpFill/>
              <a:ln w="1270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 61">
                <a:extLst>
                  <a:ext uri="{FF2B5EF4-FFF2-40B4-BE49-F238E27FC236}">
                    <a16:creationId xmlns:a16="http://schemas.microsoft.com/office/drawing/2014/main" id="{A51C726D-0F72-6069-22BD-8A3A6C0B2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9557" y="4588201"/>
                <a:ext cx="11169" cy="1396"/>
              </a:xfrm>
              <a:custGeom>
                <a:avLst/>
                <a:gdLst>
                  <a:gd name="T0" fmla="*/ 0 w 8"/>
                  <a:gd name="T1" fmla="*/ 0 h 1"/>
                  <a:gd name="T2" fmla="*/ 8 w 8"/>
                  <a:gd name="T3" fmla="*/ 0 h 1"/>
                  <a:gd name="T4" fmla="*/ 0 w 8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" h="1">
                    <a:moveTo>
                      <a:pt x="0" y="0"/>
                    </a:move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 62">
                <a:extLst>
                  <a:ext uri="{FF2B5EF4-FFF2-40B4-BE49-F238E27FC236}">
                    <a16:creationId xmlns:a16="http://schemas.microsoft.com/office/drawing/2014/main" id="{C8AC0FF2-D566-4BD8-5870-9483B725E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6352" y="4454179"/>
                <a:ext cx="36298" cy="22337"/>
              </a:xfrm>
              <a:custGeom>
                <a:avLst/>
                <a:gdLst>
                  <a:gd name="T0" fmla="*/ 26 w 26"/>
                  <a:gd name="T1" fmla="*/ 16 h 16"/>
                  <a:gd name="T2" fmla="*/ 0 w 26"/>
                  <a:gd name="T3" fmla="*/ 0 h 16"/>
                  <a:gd name="T4" fmla="*/ 0 w 26"/>
                  <a:gd name="T5" fmla="*/ 8 h 16"/>
                  <a:gd name="T6" fmla="*/ 17 w 26"/>
                  <a:gd name="T7" fmla="*/ 16 h 16"/>
                  <a:gd name="T8" fmla="*/ 26 w 26"/>
                  <a:gd name="T9" fmla="*/ 16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16">
                    <a:moveTo>
                      <a:pt x="26" y="16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17" y="16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Freeform 63">
                <a:extLst>
                  <a:ext uri="{FF2B5EF4-FFF2-40B4-BE49-F238E27FC236}">
                    <a16:creationId xmlns:a16="http://schemas.microsoft.com/office/drawing/2014/main" id="{6C5FDE08-E950-F667-616F-3F851C1DD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9557" y="4588201"/>
                <a:ext cx="11169" cy="1396"/>
              </a:xfrm>
              <a:custGeom>
                <a:avLst/>
                <a:gdLst>
                  <a:gd name="T0" fmla="*/ 0 w 8"/>
                  <a:gd name="T1" fmla="*/ 0 h 1"/>
                  <a:gd name="T2" fmla="*/ 8 w 8"/>
                  <a:gd name="T3" fmla="*/ 0 h 1"/>
                  <a:gd name="T4" fmla="*/ 0 w 8"/>
                  <a:gd name="T5" fmla="*/ 0 h 1"/>
                  <a:gd name="T6" fmla="*/ 0 w 8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">
                    <a:moveTo>
                      <a:pt x="0" y="0"/>
                    </a:move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64">
                <a:extLst>
                  <a:ext uri="{FF2B5EF4-FFF2-40B4-BE49-F238E27FC236}">
                    <a16:creationId xmlns:a16="http://schemas.microsoft.com/office/drawing/2014/main" id="{59E2E175-EBAE-9073-E5AF-97F027FB8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6352" y="4454179"/>
                <a:ext cx="36298" cy="22337"/>
              </a:xfrm>
              <a:custGeom>
                <a:avLst/>
                <a:gdLst>
                  <a:gd name="T0" fmla="*/ 26 w 26"/>
                  <a:gd name="T1" fmla="*/ 16 h 16"/>
                  <a:gd name="T2" fmla="*/ 0 w 26"/>
                  <a:gd name="T3" fmla="*/ 0 h 16"/>
                  <a:gd name="T4" fmla="*/ 0 w 26"/>
                  <a:gd name="T5" fmla="*/ 8 h 16"/>
                  <a:gd name="T6" fmla="*/ 17 w 26"/>
                  <a:gd name="T7" fmla="*/ 16 h 16"/>
                  <a:gd name="T8" fmla="*/ 26 w 26"/>
                  <a:gd name="T9" fmla="*/ 16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16">
                    <a:moveTo>
                      <a:pt x="26" y="16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17" y="16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 65">
                <a:extLst>
                  <a:ext uri="{FF2B5EF4-FFF2-40B4-BE49-F238E27FC236}">
                    <a16:creationId xmlns:a16="http://schemas.microsoft.com/office/drawing/2014/main" id="{0306B53F-1481-8DF1-6627-B8AB1678E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5546" y="4443010"/>
                <a:ext cx="670111" cy="323887"/>
              </a:xfrm>
              <a:custGeom>
                <a:avLst/>
                <a:gdLst>
                  <a:gd name="T0" fmla="*/ 421 w 480"/>
                  <a:gd name="T1" fmla="*/ 8 h 232"/>
                  <a:gd name="T2" fmla="*/ 396 w 480"/>
                  <a:gd name="T3" fmla="*/ 0 h 232"/>
                  <a:gd name="T4" fmla="*/ 353 w 480"/>
                  <a:gd name="T5" fmla="*/ 0 h 232"/>
                  <a:gd name="T6" fmla="*/ 328 w 480"/>
                  <a:gd name="T7" fmla="*/ 16 h 232"/>
                  <a:gd name="T8" fmla="*/ 294 w 480"/>
                  <a:gd name="T9" fmla="*/ 16 h 232"/>
                  <a:gd name="T10" fmla="*/ 269 w 480"/>
                  <a:gd name="T11" fmla="*/ 40 h 232"/>
                  <a:gd name="T12" fmla="*/ 244 w 480"/>
                  <a:gd name="T13" fmla="*/ 40 h 232"/>
                  <a:gd name="T14" fmla="*/ 236 w 480"/>
                  <a:gd name="T15" fmla="*/ 24 h 232"/>
                  <a:gd name="T16" fmla="*/ 210 w 480"/>
                  <a:gd name="T17" fmla="*/ 0 h 232"/>
                  <a:gd name="T18" fmla="*/ 177 w 480"/>
                  <a:gd name="T19" fmla="*/ 24 h 232"/>
                  <a:gd name="T20" fmla="*/ 168 w 480"/>
                  <a:gd name="T21" fmla="*/ 24 h 232"/>
                  <a:gd name="T22" fmla="*/ 151 w 480"/>
                  <a:gd name="T23" fmla="*/ 16 h 232"/>
                  <a:gd name="T24" fmla="*/ 126 w 480"/>
                  <a:gd name="T25" fmla="*/ 32 h 232"/>
                  <a:gd name="T26" fmla="*/ 101 w 480"/>
                  <a:gd name="T27" fmla="*/ 56 h 232"/>
                  <a:gd name="T28" fmla="*/ 67 w 480"/>
                  <a:gd name="T29" fmla="*/ 104 h 232"/>
                  <a:gd name="T30" fmla="*/ 25 w 480"/>
                  <a:gd name="T31" fmla="*/ 104 h 232"/>
                  <a:gd name="T32" fmla="*/ 0 w 480"/>
                  <a:gd name="T33" fmla="*/ 136 h 232"/>
                  <a:gd name="T34" fmla="*/ 0 w 480"/>
                  <a:gd name="T35" fmla="*/ 176 h 232"/>
                  <a:gd name="T36" fmla="*/ 33 w 480"/>
                  <a:gd name="T37" fmla="*/ 200 h 232"/>
                  <a:gd name="T38" fmla="*/ 25 w 480"/>
                  <a:gd name="T39" fmla="*/ 208 h 232"/>
                  <a:gd name="T40" fmla="*/ 42 w 480"/>
                  <a:gd name="T41" fmla="*/ 216 h 232"/>
                  <a:gd name="T42" fmla="*/ 67 w 480"/>
                  <a:gd name="T43" fmla="*/ 232 h 232"/>
                  <a:gd name="T44" fmla="*/ 185 w 480"/>
                  <a:gd name="T45" fmla="*/ 216 h 232"/>
                  <a:gd name="T46" fmla="*/ 185 w 480"/>
                  <a:gd name="T47" fmla="*/ 184 h 232"/>
                  <a:gd name="T48" fmla="*/ 236 w 480"/>
                  <a:gd name="T49" fmla="*/ 168 h 232"/>
                  <a:gd name="T50" fmla="*/ 244 w 480"/>
                  <a:gd name="T51" fmla="*/ 152 h 232"/>
                  <a:gd name="T52" fmla="*/ 286 w 480"/>
                  <a:gd name="T53" fmla="*/ 160 h 232"/>
                  <a:gd name="T54" fmla="*/ 328 w 480"/>
                  <a:gd name="T55" fmla="*/ 112 h 232"/>
                  <a:gd name="T56" fmla="*/ 362 w 480"/>
                  <a:gd name="T57" fmla="*/ 112 h 232"/>
                  <a:gd name="T58" fmla="*/ 404 w 480"/>
                  <a:gd name="T59" fmla="*/ 104 h 232"/>
                  <a:gd name="T60" fmla="*/ 412 w 480"/>
                  <a:gd name="T61" fmla="*/ 104 h 232"/>
                  <a:gd name="T62" fmla="*/ 438 w 480"/>
                  <a:gd name="T63" fmla="*/ 112 h 232"/>
                  <a:gd name="T64" fmla="*/ 455 w 480"/>
                  <a:gd name="T65" fmla="*/ 112 h 232"/>
                  <a:gd name="T66" fmla="*/ 463 w 480"/>
                  <a:gd name="T67" fmla="*/ 64 h 232"/>
                  <a:gd name="T68" fmla="*/ 480 w 480"/>
                  <a:gd name="T69" fmla="*/ 16 h 232"/>
                  <a:gd name="T70" fmla="*/ 421 w 480"/>
                  <a:gd name="T71" fmla="*/ 8 h 23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480" h="232">
                    <a:moveTo>
                      <a:pt x="421" y="8"/>
                    </a:moveTo>
                    <a:lnTo>
                      <a:pt x="396" y="0"/>
                    </a:lnTo>
                    <a:lnTo>
                      <a:pt x="353" y="0"/>
                    </a:lnTo>
                    <a:lnTo>
                      <a:pt x="328" y="16"/>
                    </a:lnTo>
                    <a:lnTo>
                      <a:pt x="294" y="16"/>
                    </a:lnTo>
                    <a:lnTo>
                      <a:pt x="269" y="40"/>
                    </a:lnTo>
                    <a:lnTo>
                      <a:pt x="244" y="40"/>
                    </a:lnTo>
                    <a:lnTo>
                      <a:pt x="236" y="24"/>
                    </a:lnTo>
                    <a:lnTo>
                      <a:pt x="210" y="0"/>
                    </a:lnTo>
                    <a:lnTo>
                      <a:pt x="177" y="24"/>
                    </a:lnTo>
                    <a:lnTo>
                      <a:pt x="168" y="24"/>
                    </a:lnTo>
                    <a:lnTo>
                      <a:pt x="151" y="16"/>
                    </a:lnTo>
                    <a:lnTo>
                      <a:pt x="126" y="32"/>
                    </a:lnTo>
                    <a:lnTo>
                      <a:pt x="101" y="56"/>
                    </a:lnTo>
                    <a:lnTo>
                      <a:pt x="67" y="104"/>
                    </a:lnTo>
                    <a:lnTo>
                      <a:pt x="25" y="104"/>
                    </a:lnTo>
                    <a:lnTo>
                      <a:pt x="0" y="136"/>
                    </a:lnTo>
                    <a:lnTo>
                      <a:pt x="0" y="176"/>
                    </a:lnTo>
                    <a:lnTo>
                      <a:pt x="33" y="200"/>
                    </a:lnTo>
                    <a:lnTo>
                      <a:pt x="25" y="208"/>
                    </a:lnTo>
                    <a:lnTo>
                      <a:pt x="42" y="216"/>
                    </a:lnTo>
                    <a:lnTo>
                      <a:pt x="67" y="232"/>
                    </a:lnTo>
                    <a:lnTo>
                      <a:pt x="185" y="216"/>
                    </a:lnTo>
                    <a:lnTo>
                      <a:pt x="185" y="184"/>
                    </a:lnTo>
                    <a:lnTo>
                      <a:pt x="236" y="168"/>
                    </a:lnTo>
                    <a:lnTo>
                      <a:pt x="244" y="152"/>
                    </a:lnTo>
                    <a:lnTo>
                      <a:pt x="286" y="160"/>
                    </a:lnTo>
                    <a:lnTo>
                      <a:pt x="328" y="112"/>
                    </a:lnTo>
                    <a:lnTo>
                      <a:pt x="362" y="112"/>
                    </a:lnTo>
                    <a:lnTo>
                      <a:pt x="404" y="104"/>
                    </a:lnTo>
                    <a:lnTo>
                      <a:pt x="412" y="104"/>
                    </a:lnTo>
                    <a:lnTo>
                      <a:pt x="438" y="112"/>
                    </a:lnTo>
                    <a:lnTo>
                      <a:pt x="455" y="112"/>
                    </a:lnTo>
                    <a:lnTo>
                      <a:pt x="463" y="64"/>
                    </a:lnTo>
                    <a:lnTo>
                      <a:pt x="480" y="16"/>
                    </a:lnTo>
                    <a:lnTo>
                      <a:pt x="421" y="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 67">
                <a:extLst>
                  <a:ext uri="{FF2B5EF4-FFF2-40B4-BE49-F238E27FC236}">
                    <a16:creationId xmlns:a16="http://schemas.microsoft.com/office/drawing/2014/main" id="{7BEC8665-410A-8D9A-D3CC-CC41242D2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5546" y="4443010"/>
                <a:ext cx="670111" cy="323887"/>
              </a:xfrm>
              <a:custGeom>
                <a:avLst/>
                <a:gdLst>
                  <a:gd name="T0" fmla="*/ 421 w 480"/>
                  <a:gd name="T1" fmla="*/ 8 h 232"/>
                  <a:gd name="T2" fmla="*/ 396 w 480"/>
                  <a:gd name="T3" fmla="*/ 0 h 232"/>
                  <a:gd name="T4" fmla="*/ 353 w 480"/>
                  <a:gd name="T5" fmla="*/ 0 h 232"/>
                  <a:gd name="T6" fmla="*/ 328 w 480"/>
                  <a:gd name="T7" fmla="*/ 16 h 232"/>
                  <a:gd name="T8" fmla="*/ 294 w 480"/>
                  <a:gd name="T9" fmla="*/ 16 h 232"/>
                  <a:gd name="T10" fmla="*/ 269 w 480"/>
                  <a:gd name="T11" fmla="*/ 40 h 232"/>
                  <a:gd name="T12" fmla="*/ 244 w 480"/>
                  <a:gd name="T13" fmla="*/ 40 h 232"/>
                  <a:gd name="T14" fmla="*/ 236 w 480"/>
                  <a:gd name="T15" fmla="*/ 24 h 232"/>
                  <a:gd name="T16" fmla="*/ 210 w 480"/>
                  <a:gd name="T17" fmla="*/ 0 h 232"/>
                  <a:gd name="T18" fmla="*/ 177 w 480"/>
                  <a:gd name="T19" fmla="*/ 24 h 232"/>
                  <a:gd name="T20" fmla="*/ 168 w 480"/>
                  <a:gd name="T21" fmla="*/ 24 h 232"/>
                  <a:gd name="T22" fmla="*/ 151 w 480"/>
                  <a:gd name="T23" fmla="*/ 16 h 232"/>
                  <a:gd name="T24" fmla="*/ 126 w 480"/>
                  <a:gd name="T25" fmla="*/ 32 h 232"/>
                  <a:gd name="T26" fmla="*/ 101 w 480"/>
                  <a:gd name="T27" fmla="*/ 56 h 232"/>
                  <a:gd name="T28" fmla="*/ 67 w 480"/>
                  <a:gd name="T29" fmla="*/ 104 h 232"/>
                  <a:gd name="T30" fmla="*/ 25 w 480"/>
                  <a:gd name="T31" fmla="*/ 104 h 232"/>
                  <a:gd name="T32" fmla="*/ 0 w 480"/>
                  <a:gd name="T33" fmla="*/ 136 h 232"/>
                  <a:gd name="T34" fmla="*/ 0 w 480"/>
                  <a:gd name="T35" fmla="*/ 176 h 232"/>
                  <a:gd name="T36" fmla="*/ 33 w 480"/>
                  <a:gd name="T37" fmla="*/ 200 h 232"/>
                  <a:gd name="T38" fmla="*/ 25 w 480"/>
                  <a:gd name="T39" fmla="*/ 208 h 232"/>
                  <a:gd name="T40" fmla="*/ 42 w 480"/>
                  <a:gd name="T41" fmla="*/ 216 h 232"/>
                  <a:gd name="T42" fmla="*/ 67 w 480"/>
                  <a:gd name="T43" fmla="*/ 232 h 232"/>
                  <a:gd name="T44" fmla="*/ 185 w 480"/>
                  <a:gd name="T45" fmla="*/ 216 h 232"/>
                  <a:gd name="T46" fmla="*/ 185 w 480"/>
                  <a:gd name="T47" fmla="*/ 184 h 232"/>
                  <a:gd name="T48" fmla="*/ 236 w 480"/>
                  <a:gd name="T49" fmla="*/ 168 h 232"/>
                  <a:gd name="T50" fmla="*/ 244 w 480"/>
                  <a:gd name="T51" fmla="*/ 152 h 232"/>
                  <a:gd name="T52" fmla="*/ 286 w 480"/>
                  <a:gd name="T53" fmla="*/ 160 h 232"/>
                  <a:gd name="T54" fmla="*/ 328 w 480"/>
                  <a:gd name="T55" fmla="*/ 112 h 232"/>
                  <a:gd name="T56" fmla="*/ 362 w 480"/>
                  <a:gd name="T57" fmla="*/ 112 h 232"/>
                  <a:gd name="T58" fmla="*/ 404 w 480"/>
                  <a:gd name="T59" fmla="*/ 104 h 232"/>
                  <a:gd name="T60" fmla="*/ 404 w 480"/>
                  <a:gd name="T61" fmla="*/ 104 h 232"/>
                  <a:gd name="T62" fmla="*/ 412 w 480"/>
                  <a:gd name="T63" fmla="*/ 104 h 232"/>
                  <a:gd name="T64" fmla="*/ 438 w 480"/>
                  <a:gd name="T65" fmla="*/ 112 h 232"/>
                  <a:gd name="T66" fmla="*/ 455 w 480"/>
                  <a:gd name="T67" fmla="*/ 112 h 232"/>
                  <a:gd name="T68" fmla="*/ 463 w 480"/>
                  <a:gd name="T69" fmla="*/ 64 h 232"/>
                  <a:gd name="T70" fmla="*/ 480 w 480"/>
                  <a:gd name="T71" fmla="*/ 16 h 232"/>
                  <a:gd name="T72" fmla="*/ 421 w 480"/>
                  <a:gd name="T73" fmla="*/ 8 h 23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480" h="232">
                    <a:moveTo>
                      <a:pt x="421" y="8"/>
                    </a:moveTo>
                    <a:lnTo>
                      <a:pt x="396" y="0"/>
                    </a:lnTo>
                    <a:lnTo>
                      <a:pt x="353" y="0"/>
                    </a:lnTo>
                    <a:lnTo>
                      <a:pt x="328" y="16"/>
                    </a:lnTo>
                    <a:lnTo>
                      <a:pt x="294" y="16"/>
                    </a:lnTo>
                    <a:lnTo>
                      <a:pt x="269" y="40"/>
                    </a:lnTo>
                    <a:lnTo>
                      <a:pt x="244" y="40"/>
                    </a:lnTo>
                    <a:lnTo>
                      <a:pt x="236" y="24"/>
                    </a:lnTo>
                    <a:lnTo>
                      <a:pt x="210" y="0"/>
                    </a:lnTo>
                    <a:lnTo>
                      <a:pt x="177" y="24"/>
                    </a:lnTo>
                    <a:lnTo>
                      <a:pt x="168" y="24"/>
                    </a:lnTo>
                    <a:lnTo>
                      <a:pt x="151" y="16"/>
                    </a:lnTo>
                    <a:lnTo>
                      <a:pt x="126" y="32"/>
                    </a:lnTo>
                    <a:lnTo>
                      <a:pt x="101" y="56"/>
                    </a:lnTo>
                    <a:lnTo>
                      <a:pt x="67" y="104"/>
                    </a:lnTo>
                    <a:lnTo>
                      <a:pt x="25" y="104"/>
                    </a:lnTo>
                    <a:lnTo>
                      <a:pt x="0" y="136"/>
                    </a:lnTo>
                    <a:lnTo>
                      <a:pt x="0" y="176"/>
                    </a:lnTo>
                    <a:lnTo>
                      <a:pt x="33" y="200"/>
                    </a:lnTo>
                    <a:lnTo>
                      <a:pt x="25" y="208"/>
                    </a:lnTo>
                    <a:lnTo>
                      <a:pt x="42" y="216"/>
                    </a:lnTo>
                    <a:lnTo>
                      <a:pt x="67" y="232"/>
                    </a:lnTo>
                    <a:lnTo>
                      <a:pt x="185" y="216"/>
                    </a:lnTo>
                    <a:lnTo>
                      <a:pt x="185" y="184"/>
                    </a:lnTo>
                    <a:lnTo>
                      <a:pt x="236" y="168"/>
                    </a:lnTo>
                    <a:lnTo>
                      <a:pt x="244" y="152"/>
                    </a:lnTo>
                    <a:lnTo>
                      <a:pt x="286" y="160"/>
                    </a:lnTo>
                    <a:lnTo>
                      <a:pt x="328" y="112"/>
                    </a:lnTo>
                    <a:lnTo>
                      <a:pt x="362" y="112"/>
                    </a:lnTo>
                    <a:lnTo>
                      <a:pt x="404" y="104"/>
                    </a:lnTo>
                    <a:lnTo>
                      <a:pt x="412" y="104"/>
                    </a:lnTo>
                    <a:lnTo>
                      <a:pt x="438" y="112"/>
                    </a:lnTo>
                    <a:lnTo>
                      <a:pt x="455" y="112"/>
                    </a:lnTo>
                    <a:lnTo>
                      <a:pt x="463" y="64"/>
                    </a:lnTo>
                    <a:lnTo>
                      <a:pt x="480" y="16"/>
                    </a:lnTo>
                    <a:lnTo>
                      <a:pt x="421" y="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Freeform 69">
                <a:extLst>
                  <a:ext uri="{FF2B5EF4-FFF2-40B4-BE49-F238E27FC236}">
                    <a16:creationId xmlns:a16="http://schemas.microsoft.com/office/drawing/2014/main" id="{6FD4A3D7-622F-1B1F-B4C5-B758815BB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2287" y="5593367"/>
                <a:ext cx="293173" cy="491415"/>
              </a:xfrm>
              <a:custGeom>
                <a:avLst/>
                <a:gdLst>
                  <a:gd name="T0" fmla="*/ 151 w 210"/>
                  <a:gd name="T1" fmla="*/ 304 h 352"/>
                  <a:gd name="T2" fmla="*/ 185 w 210"/>
                  <a:gd name="T3" fmla="*/ 288 h 352"/>
                  <a:gd name="T4" fmla="*/ 185 w 210"/>
                  <a:gd name="T5" fmla="*/ 248 h 352"/>
                  <a:gd name="T6" fmla="*/ 210 w 210"/>
                  <a:gd name="T7" fmla="*/ 232 h 352"/>
                  <a:gd name="T8" fmla="*/ 194 w 210"/>
                  <a:gd name="T9" fmla="*/ 192 h 352"/>
                  <a:gd name="T10" fmla="*/ 168 w 210"/>
                  <a:gd name="T11" fmla="*/ 184 h 352"/>
                  <a:gd name="T12" fmla="*/ 143 w 210"/>
                  <a:gd name="T13" fmla="*/ 152 h 352"/>
                  <a:gd name="T14" fmla="*/ 135 w 210"/>
                  <a:gd name="T15" fmla="*/ 96 h 352"/>
                  <a:gd name="T16" fmla="*/ 135 w 210"/>
                  <a:gd name="T17" fmla="*/ 72 h 352"/>
                  <a:gd name="T18" fmla="*/ 101 w 210"/>
                  <a:gd name="T19" fmla="*/ 32 h 352"/>
                  <a:gd name="T20" fmla="*/ 84 w 210"/>
                  <a:gd name="T21" fmla="*/ 16 h 352"/>
                  <a:gd name="T22" fmla="*/ 59 w 210"/>
                  <a:gd name="T23" fmla="*/ 16 h 352"/>
                  <a:gd name="T24" fmla="*/ 25 w 210"/>
                  <a:gd name="T25" fmla="*/ 0 h 352"/>
                  <a:gd name="T26" fmla="*/ 0 w 210"/>
                  <a:gd name="T27" fmla="*/ 72 h 352"/>
                  <a:gd name="T28" fmla="*/ 0 w 210"/>
                  <a:gd name="T29" fmla="*/ 80 h 352"/>
                  <a:gd name="T30" fmla="*/ 17 w 210"/>
                  <a:gd name="T31" fmla="*/ 88 h 352"/>
                  <a:gd name="T32" fmla="*/ 33 w 210"/>
                  <a:gd name="T33" fmla="*/ 104 h 352"/>
                  <a:gd name="T34" fmla="*/ 33 w 210"/>
                  <a:gd name="T35" fmla="*/ 120 h 352"/>
                  <a:gd name="T36" fmla="*/ 33 w 210"/>
                  <a:gd name="T37" fmla="*/ 160 h 352"/>
                  <a:gd name="T38" fmla="*/ 42 w 210"/>
                  <a:gd name="T39" fmla="*/ 248 h 352"/>
                  <a:gd name="T40" fmla="*/ 67 w 210"/>
                  <a:gd name="T41" fmla="*/ 288 h 352"/>
                  <a:gd name="T42" fmla="*/ 109 w 210"/>
                  <a:gd name="T43" fmla="*/ 320 h 352"/>
                  <a:gd name="T44" fmla="*/ 135 w 210"/>
                  <a:gd name="T45" fmla="*/ 352 h 352"/>
                  <a:gd name="T46" fmla="*/ 151 w 210"/>
                  <a:gd name="T47" fmla="*/ 344 h 352"/>
                  <a:gd name="T48" fmla="*/ 151 w 210"/>
                  <a:gd name="T49" fmla="*/ 304 h 35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210" h="352">
                    <a:moveTo>
                      <a:pt x="151" y="304"/>
                    </a:moveTo>
                    <a:lnTo>
                      <a:pt x="185" y="288"/>
                    </a:lnTo>
                    <a:lnTo>
                      <a:pt x="185" y="248"/>
                    </a:lnTo>
                    <a:lnTo>
                      <a:pt x="210" y="232"/>
                    </a:lnTo>
                    <a:lnTo>
                      <a:pt x="194" y="192"/>
                    </a:lnTo>
                    <a:lnTo>
                      <a:pt x="168" y="184"/>
                    </a:lnTo>
                    <a:lnTo>
                      <a:pt x="143" y="152"/>
                    </a:lnTo>
                    <a:lnTo>
                      <a:pt x="135" y="96"/>
                    </a:lnTo>
                    <a:lnTo>
                      <a:pt x="135" y="72"/>
                    </a:lnTo>
                    <a:lnTo>
                      <a:pt x="101" y="32"/>
                    </a:lnTo>
                    <a:lnTo>
                      <a:pt x="84" y="16"/>
                    </a:lnTo>
                    <a:lnTo>
                      <a:pt x="59" y="16"/>
                    </a:lnTo>
                    <a:lnTo>
                      <a:pt x="25" y="0"/>
                    </a:lnTo>
                    <a:lnTo>
                      <a:pt x="0" y="72"/>
                    </a:lnTo>
                    <a:lnTo>
                      <a:pt x="0" y="80"/>
                    </a:lnTo>
                    <a:lnTo>
                      <a:pt x="17" y="88"/>
                    </a:lnTo>
                    <a:lnTo>
                      <a:pt x="33" y="104"/>
                    </a:lnTo>
                    <a:lnTo>
                      <a:pt x="33" y="120"/>
                    </a:lnTo>
                    <a:lnTo>
                      <a:pt x="33" y="160"/>
                    </a:lnTo>
                    <a:lnTo>
                      <a:pt x="42" y="248"/>
                    </a:lnTo>
                    <a:lnTo>
                      <a:pt x="67" y="288"/>
                    </a:lnTo>
                    <a:lnTo>
                      <a:pt x="109" y="320"/>
                    </a:lnTo>
                    <a:lnTo>
                      <a:pt x="135" y="352"/>
                    </a:lnTo>
                    <a:lnTo>
                      <a:pt x="151" y="344"/>
                    </a:lnTo>
                    <a:lnTo>
                      <a:pt x="151" y="30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 70">
                <a:extLst>
                  <a:ext uri="{FF2B5EF4-FFF2-40B4-BE49-F238E27FC236}">
                    <a16:creationId xmlns:a16="http://schemas.microsoft.com/office/drawing/2014/main" id="{80137E86-D347-FB7B-584C-36D72000F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0756" y="5593367"/>
                <a:ext cx="846015" cy="982830"/>
              </a:xfrm>
              <a:custGeom>
                <a:avLst/>
                <a:gdLst>
                  <a:gd name="T0" fmla="*/ 606 w 606"/>
                  <a:gd name="T1" fmla="*/ 24 h 704"/>
                  <a:gd name="T2" fmla="*/ 556 w 606"/>
                  <a:gd name="T3" fmla="*/ 0 h 704"/>
                  <a:gd name="T4" fmla="*/ 530 w 606"/>
                  <a:gd name="T5" fmla="*/ 56 h 704"/>
                  <a:gd name="T6" fmla="*/ 446 w 606"/>
                  <a:gd name="T7" fmla="*/ 72 h 704"/>
                  <a:gd name="T8" fmla="*/ 379 w 606"/>
                  <a:gd name="T9" fmla="*/ 56 h 704"/>
                  <a:gd name="T10" fmla="*/ 286 w 606"/>
                  <a:gd name="T11" fmla="*/ 104 h 704"/>
                  <a:gd name="T12" fmla="*/ 236 w 606"/>
                  <a:gd name="T13" fmla="*/ 136 h 704"/>
                  <a:gd name="T14" fmla="*/ 134 w 606"/>
                  <a:gd name="T15" fmla="*/ 184 h 704"/>
                  <a:gd name="T16" fmla="*/ 75 w 606"/>
                  <a:gd name="T17" fmla="*/ 200 h 704"/>
                  <a:gd name="T18" fmla="*/ 75 w 606"/>
                  <a:gd name="T19" fmla="*/ 232 h 704"/>
                  <a:gd name="T20" fmla="*/ 50 w 606"/>
                  <a:gd name="T21" fmla="*/ 288 h 704"/>
                  <a:gd name="T22" fmla="*/ 16 w 606"/>
                  <a:gd name="T23" fmla="*/ 344 h 704"/>
                  <a:gd name="T24" fmla="*/ 33 w 606"/>
                  <a:gd name="T25" fmla="*/ 392 h 704"/>
                  <a:gd name="T26" fmla="*/ 59 w 606"/>
                  <a:gd name="T27" fmla="*/ 464 h 704"/>
                  <a:gd name="T28" fmla="*/ 118 w 606"/>
                  <a:gd name="T29" fmla="*/ 480 h 704"/>
                  <a:gd name="T30" fmla="*/ 286 w 606"/>
                  <a:gd name="T31" fmla="*/ 472 h 704"/>
                  <a:gd name="T32" fmla="*/ 337 w 606"/>
                  <a:gd name="T33" fmla="*/ 496 h 704"/>
                  <a:gd name="T34" fmla="*/ 294 w 606"/>
                  <a:gd name="T35" fmla="*/ 512 h 704"/>
                  <a:gd name="T36" fmla="*/ 210 w 606"/>
                  <a:gd name="T37" fmla="*/ 488 h 704"/>
                  <a:gd name="T38" fmla="*/ 160 w 606"/>
                  <a:gd name="T39" fmla="*/ 512 h 704"/>
                  <a:gd name="T40" fmla="*/ 160 w 606"/>
                  <a:gd name="T41" fmla="*/ 568 h 704"/>
                  <a:gd name="T42" fmla="*/ 202 w 606"/>
                  <a:gd name="T43" fmla="*/ 592 h 704"/>
                  <a:gd name="T44" fmla="*/ 236 w 606"/>
                  <a:gd name="T45" fmla="*/ 672 h 704"/>
                  <a:gd name="T46" fmla="*/ 278 w 606"/>
                  <a:gd name="T47" fmla="*/ 656 h 704"/>
                  <a:gd name="T48" fmla="*/ 337 w 606"/>
                  <a:gd name="T49" fmla="*/ 656 h 704"/>
                  <a:gd name="T50" fmla="*/ 328 w 606"/>
                  <a:gd name="T51" fmla="*/ 568 h 704"/>
                  <a:gd name="T52" fmla="*/ 370 w 606"/>
                  <a:gd name="T53" fmla="*/ 584 h 704"/>
                  <a:gd name="T54" fmla="*/ 387 w 606"/>
                  <a:gd name="T55" fmla="*/ 576 h 704"/>
                  <a:gd name="T56" fmla="*/ 353 w 606"/>
                  <a:gd name="T57" fmla="*/ 528 h 704"/>
                  <a:gd name="T58" fmla="*/ 455 w 606"/>
                  <a:gd name="T59" fmla="*/ 528 h 704"/>
                  <a:gd name="T60" fmla="*/ 438 w 606"/>
                  <a:gd name="T61" fmla="*/ 464 h 704"/>
                  <a:gd name="T62" fmla="*/ 438 w 606"/>
                  <a:gd name="T63" fmla="*/ 448 h 704"/>
                  <a:gd name="T64" fmla="*/ 480 w 606"/>
                  <a:gd name="T65" fmla="*/ 480 h 704"/>
                  <a:gd name="T66" fmla="*/ 463 w 606"/>
                  <a:gd name="T67" fmla="*/ 440 h 704"/>
                  <a:gd name="T68" fmla="*/ 353 w 606"/>
                  <a:gd name="T69" fmla="*/ 384 h 704"/>
                  <a:gd name="T70" fmla="*/ 337 w 606"/>
                  <a:gd name="T71" fmla="*/ 400 h 704"/>
                  <a:gd name="T72" fmla="*/ 311 w 606"/>
                  <a:gd name="T73" fmla="*/ 408 h 704"/>
                  <a:gd name="T74" fmla="*/ 294 w 606"/>
                  <a:gd name="T75" fmla="*/ 376 h 704"/>
                  <a:gd name="T76" fmla="*/ 337 w 606"/>
                  <a:gd name="T77" fmla="*/ 360 h 704"/>
                  <a:gd name="T78" fmla="*/ 320 w 606"/>
                  <a:gd name="T79" fmla="*/ 320 h 704"/>
                  <a:gd name="T80" fmla="*/ 236 w 606"/>
                  <a:gd name="T81" fmla="*/ 240 h 704"/>
                  <a:gd name="T82" fmla="*/ 261 w 606"/>
                  <a:gd name="T83" fmla="*/ 200 h 704"/>
                  <a:gd name="T84" fmla="*/ 294 w 606"/>
                  <a:gd name="T85" fmla="*/ 232 h 704"/>
                  <a:gd name="T86" fmla="*/ 337 w 606"/>
                  <a:gd name="T87" fmla="*/ 264 h 704"/>
                  <a:gd name="T88" fmla="*/ 362 w 606"/>
                  <a:gd name="T89" fmla="*/ 208 h 704"/>
                  <a:gd name="T90" fmla="*/ 387 w 606"/>
                  <a:gd name="T91" fmla="*/ 144 h 704"/>
                  <a:gd name="T92" fmla="*/ 497 w 606"/>
                  <a:gd name="T93" fmla="*/ 112 h 704"/>
                  <a:gd name="T94" fmla="*/ 564 w 606"/>
                  <a:gd name="T95" fmla="*/ 112 h 704"/>
                  <a:gd name="T96" fmla="*/ 598 w 606"/>
                  <a:gd name="T97" fmla="*/ 96 h 7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06" h="704">
                    <a:moveTo>
                      <a:pt x="589" y="72"/>
                    </a:moveTo>
                    <a:lnTo>
                      <a:pt x="606" y="24"/>
                    </a:lnTo>
                    <a:lnTo>
                      <a:pt x="581" y="0"/>
                    </a:lnTo>
                    <a:lnTo>
                      <a:pt x="556" y="0"/>
                    </a:lnTo>
                    <a:lnTo>
                      <a:pt x="564" y="40"/>
                    </a:lnTo>
                    <a:lnTo>
                      <a:pt x="530" y="56"/>
                    </a:lnTo>
                    <a:lnTo>
                      <a:pt x="471" y="72"/>
                    </a:lnTo>
                    <a:lnTo>
                      <a:pt x="446" y="72"/>
                    </a:lnTo>
                    <a:lnTo>
                      <a:pt x="412" y="72"/>
                    </a:lnTo>
                    <a:lnTo>
                      <a:pt x="379" y="56"/>
                    </a:lnTo>
                    <a:lnTo>
                      <a:pt x="328" y="88"/>
                    </a:lnTo>
                    <a:lnTo>
                      <a:pt x="286" y="104"/>
                    </a:lnTo>
                    <a:lnTo>
                      <a:pt x="244" y="104"/>
                    </a:lnTo>
                    <a:lnTo>
                      <a:pt x="236" y="136"/>
                    </a:lnTo>
                    <a:lnTo>
                      <a:pt x="168" y="144"/>
                    </a:lnTo>
                    <a:lnTo>
                      <a:pt x="134" y="184"/>
                    </a:lnTo>
                    <a:lnTo>
                      <a:pt x="109" y="184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75" y="232"/>
                    </a:lnTo>
                    <a:lnTo>
                      <a:pt x="50" y="248"/>
                    </a:lnTo>
                    <a:lnTo>
                      <a:pt x="50" y="288"/>
                    </a:lnTo>
                    <a:lnTo>
                      <a:pt x="16" y="304"/>
                    </a:lnTo>
                    <a:lnTo>
                      <a:pt x="16" y="344"/>
                    </a:lnTo>
                    <a:lnTo>
                      <a:pt x="0" y="352"/>
                    </a:lnTo>
                    <a:lnTo>
                      <a:pt x="33" y="392"/>
                    </a:lnTo>
                    <a:lnTo>
                      <a:pt x="75" y="424"/>
                    </a:lnTo>
                    <a:lnTo>
                      <a:pt x="59" y="464"/>
                    </a:lnTo>
                    <a:lnTo>
                      <a:pt x="92" y="464"/>
                    </a:lnTo>
                    <a:lnTo>
                      <a:pt x="118" y="480"/>
                    </a:lnTo>
                    <a:lnTo>
                      <a:pt x="202" y="480"/>
                    </a:lnTo>
                    <a:lnTo>
                      <a:pt x="286" y="472"/>
                    </a:lnTo>
                    <a:lnTo>
                      <a:pt x="362" y="480"/>
                    </a:lnTo>
                    <a:lnTo>
                      <a:pt x="337" y="496"/>
                    </a:lnTo>
                    <a:lnTo>
                      <a:pt x="328" y="512"/>
                    </a:lnTo>
                    <a:lnTo>
                      <a:pt x="294" y="512"/>
                    </a:lnTo>
                    <a:lnTo>
                      <a:pt x="261" y="504"/>
                    </a:lnTo>
                    <a:lnTo>
                      <a:pt x="210" y="488"/>
                    </a:lnTo>
                    <a:lnTo>
                      <a:pt x="185" y="504"/>
                    </a:lnTo>
                    <a:lnTo>
                      <a:pt x="160" y="512"/>
                    </a:lnTo>
                    <a:lnTo>
                      <a:pt x="134" y="552"/>
                    </a:lnTo>
                    <a:lnTo>
                      <a:pt x="160" y="568"/>
                    </a:lnTo>
                    <a:lnTo>
                      <a:pt x="185" y="584"/>
                    </a:lnTo>
                    <a:lnTo>
                      <a:pt x="202" y="592"/>
                    </a:lnTo>
                    <a:lnTo>
                      <a:pt x="210" y="624"/>
                    </a:lnTo>
                    <a:lnTo>
                      <a:pt x="236" y="672"/>
                    </a:lnTo>
                    <a:lnTo>
                      <a:pt x="252" y="648"/>
                    </a:lnTo>
                    <a:lnTo>
                      <a:pt x="278" y="656"/>
                    </a:lnTo>
                    <a:lnTo>
                      <a:pt x="311" y="704"/>
                    </a:lnTo>
                    <a:lnTo>
                      <a:pt x="337" y="656"/>
                    </a:lnTo>
                    <a:lnTo>
                      <a:pt x="396" y="688"/>
                    </a:lnTo>
                    <a:lnTo>
                      <a:pt x="328" y="568"/>
                    </a:lnTo>
                    <a:lnTo>
                      <a:pt x="353" y="576"/>
                    </a:lnTo>
                    <a:lnTo>
                      <a:pt x="370" y="584"/>
                    </a:lnTo>
                    <a:lnTo>
                      <a:pt x="370" y="600"/>
                    </a:lnTo>
                    <a:lnTo>
                      <a:pt x="387" y="576"/>
                    </a:lnTo>
                    <a:lnTo>
                      <a:pt x="412" y="560"/>
                    </a:lnTo>
                    <a:lnTo>
                      <a:pt x="353" y="528"/>
                    </a:lnTo>
                    <a:lnTo>
                      <a:pt x="404" y="512"/>
                    </a:lnTo>
                    <a:lnTo>
                      <a:pt x="455" y="528"/>
                    </a:lnTo>
                    <a:lnTo>
                      <a:pt x="446" y="488"/>
                    </a:lnTo>
                    <a:lnTo>
                      <a:pt x="438" y="464"/>
                    </a:lnTo>
                    <a:lnTo>
                      <a:pt x="412" y="448"/>
                    </a:lnTo>
                    <a:lnTo>
                      <a:pt x="438" y="448"/>
                    </a:lnTo>
                    <a:lnTo>
                      <a:pt x="455" y="464"/>
                    </a:lnTo>
                    <a:lnTo>
                      <a:pt x="480" y="480"/>
                    </a:lnTo>
                    <a:lnTo>
                      <a:pt x="514" y="472"/>
                    </a:lnTo>
                    <a:lnTo>
                      <a:pt x="463" y="440"/>
                    </a:lnTo>
                    <a:lnTo>
                      <a:pt x="421" y="408"/>
                    </a:lnTo>
                    <a:lnTo>
                      <a:pt x="353" y="384"/>
                    </a:lnTo>
                    <a:lnTo>
                      <a:pt x="337" y="384"/>
                    </a:lnTo>
                    <a:lnTo>
                      <a:pt x="337" y="400"/>
                    </a:lnTo>
                    <a:lnTo>
                      <a:pt x="345" y="416"/>
                    </a:lnTo>
                    <a:lnTo>
                      <a:pt x="311" y="408"/>
                    </a:lnTo>
                    <a:lnTo>
                      <a:pt x="294" y="400"/>
                    </a:lnTo>
                    <a:lnTo>
                      <a:pt x="294" y="376"/>
                    </a:lnTo>
                    <a:lnTo>
                      <a:pt x="294" y="352"/>
                    </a:lnTo>
                    <a:lnTo>
                      <a:pt x="337" y="360"/>
                    </a:lnTo>
                    <a:lnTo>
                      <a:pt x="337" y="336"/>
                    </a:lnTo>
                    <a:lnTo>
                      <a:pt x="320" y="320"/>
                    </a:lnTo>
                    <a:lnTo>
                      <a:pt x="269" y="288"/>
                    </a:lnTo>
                    <a:lnTo>
                      <a:pt x="236" y="240"/>
                    </a:lnTo>
                    <a:lnTo>
                      <a:pt x="244" y="224"/>
                    </a:lnTo>
                    <a:lnTo>
                      <a:pt x="261" y="200"/>
                    </a:lnTo>
                    <a:lnTo>
                      <a:pt x="269" y="224"/>
                    </a:lnTo>
                    <a:lnTo>
                      <a:pt x="294" y="232"/>
                    </a:lnTo>
                    <a:lnTo>
                      <a:pt x="320" y="240"/>
                    </a:lnTo>
                    <a:lnTo>
                      <a:pt x="337" y="264"/>
                    </a:lnTo>
                    <a:lnTo>
                      <a:pt x="337" y="232"/>
                    </a:lnTo>
                    <a:lnTo>
                      <a:pt x="362" y="208"/>
                    </a:lnTo>
                    <a:lnTo>
                      <a:pt x="370" y="160"/>
                    </a:lnTo>
                    <a:lnTo>
                      <a:pt x="387" y="144"/>
                    </a:lnTo>
                    <a:lnTo>
                      <a:pt x="412" y="136"/>
                    </a:lnTo>
                    <a:lnTo>
                      <a:pt x="497" y="112"/>
                    </a:lnTo>
                    <a:lnTo>
                      <a:pt x="539" y="112"/>
                    </a:lnTo>
                    <a:lnTo>
                      <a:pt x="564" y="112"/>
                    </a:lnTo>
                    <a:lnTo>
                      <a:pt x="573" y="128"/>
                    </a:lnTo>
                    <a:lnTo>
                      <a:pt x="598" y="96"/>
                    </a:lnTo>
                    <a:lnTo>
                      <a:pt x="589" y="7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Freeform 71">
                <a:extLst>
                  <a:ext uri="{FF2B5EF4-FFF2-40B4-BE49-F238E27FC236}">
                    <a16:creationId xmlns:a16="http://schemas.microsoft.com/office/drawing/2014/main" id="{125B9E3E-00B7-A720-D90E-FA3ED7087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2287" y="5593367"/>
                <a:ext cx="293173" cy="491415"/>
              </a:xfrm>
              <a:custGeom>
                <a:avLst/>
                <a:gdLst>
                  <a:gd name="T0" fmla="*/ 151 w 210"/>
                  <a:gd name="T1" fmla="*/ 304 h 352"/>
                  <a:gd name="T2" fmla="*/ 185 w 210"/>
                  <a:gd name="T3" fmla="*/ 288 h 352"/>
                  <a:gd name="T4" fmla="*/ 185 w 210"/>
                  <a:gd name="T5" fmla="*/ 248 h 352"/>
                  <a:gd name="T6" fmla="*/ 210 w 210"/>
                  <a:gd name="T7" fmla="*/ 232 h 352"/>
                  <a:gd name="T8" fmla="*/ 194 w 210"/>
                  <a:gd name="T9" fmla="*/ 192 h 352"/>
                  <a:gd name="T10" fmla="*/ 168 w 210"/>
                  <a:gd name="T11" fmla="*/ 184 h 352"/>
                  <a:gd name="T12" fmla="*/ 143 w 210"/>
                  <a:gd name="T13" fmla="*/ 152 h 352"/>
                  <a:gd name="T14" fmla="*/ 135 w 210"/>
                  <a:gd name="T15" fmla="*/ 96 h 352"/>
                  <a:gd name="T16" fmla="*/ 135 w 210"/>
                  <a:gd name="T17" fmla="*/ 72 h 352"/>
                  <a:gd name="T18" fmla="*/ 135 w 210"/>
                  <a:gd name="T19" fmla="*/ 72 h 352"/>
                  <a:gd name="T20" fmla="*/ 101 w 210"/>
                  <a:gd name="T21" fmla="*/ 32 h 352"/>
                  <a:gd name="T22" fmla="*/ 84 w 210"/>
                  <a:gd name="T23" fmla="*/ 16 h 352"/>
                  <a:gd name="T24" fmla="*/ 59 w 210"/>
                  <a:gd name="T25" fmla="*/ 16 h 352"/>
                  <a:gd name="T26" fmla="*/ 25 w 210"/>
                  <a:gd name="T27" fmla="*/ 0 h 352"/>
                  <a:gd name="T28" fmla="*/ 0 w 210"/>
                  <a:gd name="T29" fmla="*/ 72 h 352"/>
                  <a:gd name="T30" fmla="*/ 0 w 210"/>
                  <a:gd name="T31" fmla="*/ 80 h 352"/>
                  <a:gd name="T32" fmla="*/ 17 w 210"/>
                  <a:gd name="T33" fmla="*/ 88 h 352"/>
                  <a:gd name="T34" fmla="*/ 33 w 210"/>
                  <a:gd name="T35" fmla="*/ 104 h 352"/>
                  <a:gd name="T36" fmla="*/ 33 w 210"/>
                  <a:gd name="T37" fmla="*/ 120 h 352"/>
                  <a:gd name="T38" fmla="*/ 33 w 210"/>
                  <a:gd name="T39" fmla="*/ 160 h 352"/>
                  <a:gd name="T40" fmla="*/ 42 w 210"/>
                  <a:gd name="T41" fmla="*/ 248 h 352"/>
                  <a:gd name="T42" fmla="*/ 67 w 210"/>
                  <a:gd name="T43" fmla="*/ 288 h 352"/>
                  <a:gd name="T44" fmla="*/ 109 w 210"/>
                  <a:gd name="T45" fmla="*/ 320 h 352"/>
                  <a:gd name="T46" fmla="*/ 135 w 210"/>
                  <a:gd name="T47" fmla="*/ 352 h 352"/>
                  <a:gd name="T48" fmla="*/ 151 w 210"/>
                  <a:gd name="T49" fmla="*/ 344 h 352"/>
                  <a:gd name="T50" fmla="*/ 151 w 210"/>
                  <a:gd name="T51" fmla="*/ 304 h 3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10" h="352">
                    <a:moveTo>
                      <a:pt x="151" y="304"/>
                    </a:moveTo>
                    <a:lnTo>
                      <a:pt x="185" y="288"/>
                    </a:lnTo>
                    <a:lnTo>
                      <a:pt x="185" y="248"/>
                    </a:lnTo>
                    <a:lnTo>
                      <a:pt x="210" y="232"/>
                    </a:lnTo>
                    <a:lnTo>
                      <a:pt x="194" y="192"/>
                    </a:lnTo>
                    <a:lnTo>
                      <a:pt x="168" y="184"/>
                    </a:lnTo>
                    <a:lnTo>
                      <a:pt x="143" y="152"/>
                    </a:lnTo>
                    <a:lnTo>
                      <a:pt x="135" y="96"/>
                    </a:lnTo>
                    <a:lnTo>
                      <a:pt x="135" y="72"/>
                    </a:lnTo>
                    <a:lnTo>
                      <a:pt x="101" y="32"/>
                    </a:lnTo>
                    <a:lnTo>
                      <a:pt x="84" y="16"/>
                    </a:lnTo>
                    <a:lnTo>
                      <a:pt x="59" y="16"/>
                    </a:lnTo>
                    <a:lnTo>
                      <a:pt x="25" y="0"/>
                    </a:lnTo>
                    <a:lnTo>
                      <a:pt x="0" y="72"/>
                    </a:lnTo>
                    <a:lnTo>
                      <a:pt x="0" y="80"/>
                    </a:lnTo>
                    <a:lnTo>
                      <a:pt x="17" y="88"/>
                    </a:lnTo>
                    <a:lnTo>
                      <a:pt x="33" y="104"/>
                    </a:lnTo>
                    <a:lnTo>
                      <a:pt x="33" y="120"/>
                    </a:lnTo>
                    <a:lnTo>
                      <a:pt x="33" y="160"/>
                    </a:lnTo>
                    <a:lnTo>
                      <a:pt x="42" y="248"/>
                    </a:lnTo>
                    <a:lnTo>
                      <a:pt x="67" y="288"/>
                    </a:lnTo>
                    <a:lnTo>
                      <a:pt x="109" y="320"/>
                    </a:lnTo>
                    <a:lnTo>
                      <a:pt x="135" y="352"/>
                    </a:lnTo>
                    <a:lnTo>
                      <a:pt x="151" y="344"/>
                    </a:lnTo>
                    <a:lnTo>
                      <a:pt x="151" y="30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 72">
                <a:extLst>
                  <a:ext uri="{FF2B5EF4-FFF2-40B4-BE49-F238E27FC236}">
                    <a16:creationId xmlns:a16="http://schemas.microsoft.com/office/drawing/2014/main" id="{236C0F21-AE7E-6FB7-1235-DD6115355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0756" y="5593367"/>
                <a:ext cx="846015" cy="982830"/>
              </a:xfrm>
              <a:custGeom>
                <a:avLst/>
                <a:gdLst>
                  <a:gd name="T0" fmla="*/ 606 w 606"/>
                  <a:gd name="T1" fmla="*/ 24 h 704"/>
                  <a:gd name="T2" fmla="*/ 556 w 606"/>
                  <a:gd name="T3" fmla="*/ 0 h 704"/>
                  <a:gd name="T4" fmla="*/ 530 w 606"/>
                  <a:gd name="T5" fmla="*/ 56 h 704"/>
                  <a:gd name="T6" fmla="*/ 446 w 606"/>
                  <a:gd name="T7" fmla="*/ 72 h 704"/>
                  <a:gd name="T8" fmla="*/ 379 w 606"/>
                  <a:gd name="T9" fmla="*/ 56 h 704"/>
                  <a:gd name="T10" fmla="*/ 286 w 606"/>
                  <a:gd name="T11" fmla="*/ 104 h 704"/>
                  <a:gd name="T12" fmla="*/ 236 w 606"/>
                  <a:gd name="T13" fmla="*/ 136 h 704"/>
                  <a:gd name="T14" fmla="*/ 134 w 606"/>
                  <a:gd name="T15" fmla="*/ 184 h 704"/>
                  <a:gd name="T16" fmla="*/ 75 w 606"/>
                  <a:gd name="T17" fmla="*/ 200 h 704"/>
                  <a:gd name="T18" fmla="*/ 75 w 606"/>
                  <a:gd name="T19" fmla="*/ 232 h 704"/>
                  <a:gd name="T20" fmla="*/ 50 w 606"/>
                  <a:gd name="T21" fmla="*/ 288 h 704"/>
                  <a:gd name="T22" fmla="*/ 16 w 606"/>
                  <a:gd name="T23" fmla="*/ 344 h 704"/>
                  <a:gd name="T24" fmla="*/ 33 w 606"/>
                  <a:gd name="T25" fmla="*/ 392 h 704"/>
                  <a:gd name="T26" fmla="*/ 59 w 606"/>
                  <a:gd name="T27" fmla="*/ 464 h 704"/>
                  <a:gd name="T28" fmla="*/ 118 w 606"/>
                  <a:gd name="T29" fmla="*/ 480 h 704"/>
                  <a:gd name="T30" fmla="*/ 286 w 606"/>
                  <a:gd name="T31" fmla="*/ 472 h 704"/>
                  <a:gd name="T32" fmla="*/ 337 w 606"/>
                  <a:gd name="T33" fmla="*/ 496 h 704"/>
                  <a:gd name="T34" fmla="*/ 294 w 606"/>
                  <a:gd name="T35" fmla="*/ 512 h 704"/>
                  <a:gd name="T36" fmla="*/ 210 w 606"/>
                  <a:gd name="T37" fmla="*/ 488 h 704"/>
                  <a:gd name="T38" fmla="*/ 160 w 606"/>
                  <a:gd name="T39" fmla="*/ 512 h 704"/>
                  <a:gd name="T40" fmla="*/ 160 w 606"/>
                  <a:gd name="T41" fmla="*/ 568 h 704"/>
                  <a:gd name="T42" fmla="*/ 202 w 606"/>
                  <a:gd name="T43" fmla="*/ 592 h 704"/>
                  <a:gd name="T44" fmla="*/ 236 w 606"/>
                  <a:gd name="T45" fmla="*/ 672 h 704"/>
                  <a:gd name="T46" fmla="*/ 278 w 606"/>
                  <a:gd name="T47" fmla="*/ 656 h 704"/>
                  <a:gd name="T48" fmla="*/ 337 w 606"/>
                  <a:gd name="T49" fmla="*/ 656 h 704"/>
                  <a:gd name="T50" fmla="*/ 328 w 606"/>
                  <a:gd name="T51" fmla="*/ 568 h 704"/>
                  <a:gd name="T52" fmla="*/ 370 w 606"/>
                  <a:gd name="T53" fmla="*/ 584 h 704"/>
                  <a:gd name="T54" fmla="*/ 387 w 606"/>
                  <a:gd name="T55" fmla="*/ 576 h 704"/>
                  <a:gd name="T56" fmla="*/ 353 w 606"/>
                  <a:gd name="T57" fmla="*/ 528 h 704"/>
                  <a:gd name="T58" fmla="*/ 455 w 606"/>
                  <a:gd name="T59" fmla="*/ 528 h 704"/>
                  <a:gd name="T60" fmla="*/ 438 w 606"/>
                  <a:gd name="T61" fmla="*/ 464 h 704"/>
                  <a:gd name="T62" fmla="*/ 438 w 606"/>
                  <a:gd name="T63" fmla="*/ 448 h 704"/>
                  <a:gd name="T64" fmla="*/ 480 w 606"/>
                  <a:gd name="T65" fmla="*/ 480 h 704"/>
                  <a:gd name="T66" fmla="*/ 463 w 606"/>
                  <a:gd name="T67" fmla="*/ 440 h 704"/>
                  <a:gd name="T68" fmla="*/ 353 w 606"/>
                  <a:gd name="T69" fmla="*/ 384 h 704"/>
                  <a:gd name="T70" fmla="*/ 337 w 606"/>
                  <a:gd name="T71" fmla="*/ 400 h 704"/>
                  <a:gd name="T72" fmla="*/ 311 w 606"/>
                  <a:gd name="T73" fmla="*/ 408 h 704"/>
                  <a:gd name="T74" fmla="*/ 294 w 606"/>
                  <a:gd name="T75" fmla="*/ 376 h 704"/>
                  <a:gd name="T76" fmla="*/ 337 w 606"/>
                  <a:gd name="T77" fmla="*/ 360 h 704"/>
                  <a:gd name="T78" fmla="*/ 320 w 606"/>
                  <a:gd name="T79" fmla="*/ 320 h 704"/>
                  <a:gd name="T80" fmla="*/ 236 w 606"/>
                  <a:gd name="T81" fmla="*/ 240 h 704"/>
                  <a:gd name="T82" fmla="*/ 261 w 606"/>
                  <a:gd name="T83" fmla="*/ 200 h 704"/>
                  <a:gd name="T84" fmla="*/ 294 w 606"/>
                  <a:gd name="T85" fmla="*/ 232 h 704"/>
                  <a:gd name="T86" fmla="*/ 337 w 606"/>
                  <a:gd name="T87" fmla="*/ 264 h 704"/>
                  <a:gd name="T88" fmla="*/ 362 w 606"/>
                  <a:gd name="T89" fmla="*/ 208 h 704"/>
                  <a:gd name="T90" fmla="*/ 387 w 606"/>
                  <a:gd name="T91" fmla="*/ 144 h 704"/>
                  <a:gd name="T92" fmla="*/ 497 w 606"/>
                  <a:gd name="T93" fmla="*/ 112 h 704"/>
                  <a:gd name="T94" fmla="*/ 564 w 606"/>
                  <a:gd name="T95" fmla="*/ 112 h 704"/>
                  <a:gd name="T96" fmla="*/ 598 w 606"/>
                  <a:gd name="T97" fmla="*/ 96 h 7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06" h="704">
                    <a:moveTo>
                      <a:pt x="589" y="72"/>
                    </a:moveTo>
                    <a:lnTo>
                      <a:pt x="606" y="24"/>
                    </a:lnTo>
                    <a:lnTo>
                      <a:pt x="581" y="0"/>
                    </a:lnTo>
                    <a:lnTo>
                      <a:pt x="556" y="0"/>
                    </a:lnTo>
                    <a:lnTo>
                      <a:pt x="564" y="40"/>
                    </a:lnTo>
                    <a:lnTo>
                      <a:pt x="530" y="56"/>
                    </a:lnTo>
                    <a:lnTo>
                      <a:pt x="471" y="72"/>
                    </a:lnTo>
                    <a:lnTo>
                      <a:pt x="446" y="72"/>
                    </a:lnTo>
                    <a:lnTo>
                      <a:pt x="412" y="72"/>
                    </a:lnTo>
                    <a:lnTo>
                      <a:pt x="379" y="56"/>
                    </a:lnTo>
                    <a:lnTo>
                      <a:pt x="328" y="88"/>
                    </a:lnTo>
                    <a:lnTo>
                      <a:pt x="286" y="104"/>
                    </a:lnTo>
                    <a:lnTo>
                      <a:pt x="244" y="104"/>
                    </a:lnTo>
                    <a:lnTo>
                      <a:pt x="236" y="136"/>
                    </a:lnTo>
                    <a:lnTo>
                      <a:pt x="168" y="144"/>
                    </a:lnTo>
                    <a:lnTo>
                      <a:pt x="134" y="184"/>
                    </a:lnTo>
                    <a:lnTo>
                      <a:pt x="109" y="184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75" y="232"/>
                    </a:lnTo>
                    <a:lnTo>
                      <a:pt x="50" y="248"/>
                    </a:lnTo>
                    <a:lnTo>
                      <a:pt x="50" y="288"/>
                    </a:lnTo>
                    <a:lnTo>
                      <a:pt x="16" y="304"/>
                    </a:lnTo>
                    <a:lnTo>
                      <a:pt x="16" y="344"/>
                    </a:lnTo>
                    <a:lnTo>
                      <a:pt x="0" y="352"/>
                    </a:lnTo>
                    <a:lnTo>
                      <a:pt x="33" y="392"/>
                    </a:lnTo>
                    <a:lnTo>
                      <a:pt x="75" y="424"/>
                    </a:lnTo>
                    <a:lnTo>
                      <a:pt x="59" y="464"/>
                    </a:lnTo>
                    <a:lnTo>
                      <a:pt x="92" y="464"/>
                    </a:lnTo>
                    <a:lnTo>
                      <a:pt x="118" y="480"/>
                    </a:lnTo>
                    <a:lnTo>
                      <a:pt x="202" y="480"/>
                    </a:lnTo>
                    <a:lnTo>
                      <a:pt x="286" y="472"/>
                    </a:lnTo>
                    <a:lnTo>
                      <a:pt x="362" y="480"/>
                    </a:lnTo>
                    <a:lnTo>
                      <a:pt x="337" y="496"/>
                    </a:lnTo>
                    <a:lnTo>
                      <a:pt x="328" y="512"/>
                    </a:lnTo>
                    <a:lnTo>
                      <a:pt x="294" y="512"/>
                    </a:lnTo>
                    <a:lnTo>
                      <a:pt x="261" y="504"/>
                    </a:lnTo>
                    <a:lnTo>
                      <a:pt x="210" y="488"/>
                    </a:lnTo>
                    <a:lnTo>
                      <a:pt x="185" y="504"/>
                    </a:lnTo>
                    <a:lnTo>
                      <a:pt x="160" y="512"/>
                    </a:lnTo>
                    <a:lnTo>
                      <a:pt x="134" y="552"/>
                    </a:lnTo>
                    <a:lnTo>
                      <a:pt x="160" y="568"/>
                    </a:lnTo>
                    <a:lnTo>
                      <a:pt x="185" y="584"/>
                    </a:lnTo>
                    <a:lnTo>
                      <a:pt x="202" y="592"/>
                    </a:lnTo>
                    <a:lnTo>
                      <a:pt x="210" y="624"/>
                    </a:lnTo>
                    <a:lnTo>
                      <a:pt x="236" y="672"/>
                    </a:lnTo>
                    <a:lnTo>
                      <a:pt x="252" y="648"/>
                    </a:lnTo>
                    <a:lnTo>
                      <a:pt x="278" y="656"/>
                    </a:lnTo>
                    <a:lnTo>
                      <a:pt x="311" y="704"/>
                    </a:lnTo>
                    <a:lnTo>
                      <a:pt x="337" y="656"/>
                    </a:lnTo>
                    <a:lnTo>
                      <a:pt x="396" y="688"/>
                    </a:lnTo>
                    <a:lnTo>
                      <a:pt x="328" y="568"/>
                    </a:lnTo>
                    <a:lnTo>
                      <a:pt x="353" y="576"/>
                    </a:lnTo>
                    <a:lnTo>
                      <a:pt x="370" y="584"/>
                    </a:lnTo>
                    <a:lnTo>
                      <a:pt x="370" y="600"/>
                    </a:lnTo>
                    <a:lnTo>
                      <a:pt x="387" y="576"/>
                    </a:lnTo>
                    <a:lnTo>
                      <a:pt x="412" y="560"/>
                    </a:lnTo>
                    <a:lnTo>
                      <a:pt x="353" y="528"/>
                    </a:lnTo>
                    <a:lnTo>
                      <a:pt x="404" y="512"/>
                    </a:lnTo>
                    <a:lnTo>
                      <a:pt x="455" y="528"/>
                    </a:lnTo>
                    <a:lnTo>
                      <a:pt x="446" y="488"/>
                    </a:lnTo>
                    <a:lnTo>
                      <a:pt x="438" y="464"/>
                    </a:lnTo>
                    <a:lnTo>
                      <a:pt x="412" y="448"/>
                    </a:lnTo>
                    <a:lnTo>
                      <a:pt x="438" y="448"/>
                    </a:lnTo>
                    <a:lnTo>
                      <a:pt x="455" y="464"/>
                    </a:lnTo>
                    <a:lnTo>
                      <a:pt x="480" y="480"/>
                    </a:lnTo>
                    <a:lnTo>
                      <a:pt x="514" y="472"/>
                    </a:lnTo>
                    <a:lnTo>
                      <a:pt x="463" y="440"/>
                    </a:lnTo>
                    <a:lnTo>
                      <a:pt x="421" y="408"/>
                    </a:lnTo>
                    <a:lnTo>
                      <a:pt x="353" y="384"/>
                    </a:lnTo>
                    <a:lnTo>
                      <a:pt x="337" y="384"/>
                    </a:lnTo>
                    <a:lnTo>
                      <a:pt x="337" y="400"/>
                    </a:lnTo>
                    <a:lnTo>
                      <a:pt x="345" y="416"/>
                    </a:lnTo>
                    <a:lnTo>
                      <a:pt x="311" y="408"/>
                    </a:lnTo>
                    <a:lnTo>
                      <a:pt x="294" y="400"/>
                    </a:lnTo>
                    <a:lnTo>
                      <a:pt x="294" y="376"/>
                    </a:lnTo>
                    <a:lnTo>
                      <a:pt x="294" y="352"/>
                    </a:lnTo>
                    <a:lnTo>
                      <a:pt x="337" y="360"/>
                    </a:lnTo>
                    <a:lnTo>
                      <a:pt x="337" y="336"/>
                    </a:lnTo>
                    <a:lnTo>
                      <a:pt x="320" y="320"/>
                    </a:lnTo>
                    <a:lnTo>
                      <a:pt x="269" y="288"/>
                    </a:lnTo>
                    <a:lnTo>
                      <a:pt x="236" y="240"/>
                    </a:lnTo>
                    <a:lnTo>
                      <a:pt x="244" y="224"/>
                    </a:lnTo>
                    <a:lnTo>
                      <a:pt x="261" y="200"/>
                    </a:lnTo>
                    <a:lnTo>
                      <a:pt x="269" y="224"/>
                    </a:lnTo>
                    <a:lnTo>
                      <a:pt x="294" y="232"/>
                    </a:lnTo>
                    <a:lnTo>
                      <a:pt x="320" y="240"/>
                    </a:lnTo>
                    <a:lnTo>
                      <a:pt x="337" y="264"/>
                    </a:lnTo>
                    <a:lnTo>
                      <a:pt x="337" y="232"/>
                    </a:lnTo>
                    <a:lnTo>
                      <a:pt x="362" y="208"/>
                    </a:lnTo>
                    <a:lnTo>
                      <a:pt x="370" y="160"/>
                    </a:lnTo>
                    <a:lnTo>
                      <a:pt x="387" y="144"/>
                    </a:lnTo>
                    <a:lnTo>
                      <a:pt x="412" y="136"/>
                    </a:lnTo>
                    <a:lnTo>
                      <a:pt x="497" y="112"/>
                    </a:lnTo>
                    <a:lnTo>
                      <a:pt x="539" y="112"/>
                    </a:lnTo>
                    <a:lnTo>
                      <a:pt x="564" y="112"/>
                    </a:lnTo>
                    <a:lnTo>
                      <a:pt x="573" y="128"/>
                    </a:lnTo>
                    <a:lnTo>
                      <a:pt x="598" y="96"/>
                    </a:lnTo>
                    <a:lnTo>
                      <a:pt x="589" y="72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Freeform 73">
                <a:extLst>
                  <a:ext uri="{FF2B5EF4-FFF2-40B4-BE49-F238E27FC236}">
                    <a16:creationId xmlns:a16="http://schemas.microsoft.com/office/drawing/2014/main" id="{35738E36-F5A9-A038-3BFF-4511717A1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0756" y="5604536"/>
                <a:ext cx="340640" cy="268045"/>
              </a:xfrm>
              <a:custGeom>
                <a:avLst/>
                <a:gdLst>
                  <a:gd name="T0" fmla="*/ 227 w 244"/>
                  <a:gd name="T1" fmla="*/ 32 h 192"/>
                  <a:gd name="T2" fmla="*/ 185 w 244"/>
                  <a:gd name="T3" fmla="*/ 16 h 192"/>
                  <a:gd name="T4" fmla="*/ 177 w 244"/>
                  <a:gd name="T5" fmla="*/ 0 h 192"/>
                  <a:gd name="T6" fmla="*/ 134 w 244"/>
                  <a:gd name="T7" fmla="*/ 0 h 192"/>
                  <a:gd name="T8" fmla="*/ 75 w 244"/>
                  <a:gd name="T9" fmla="*/ 24 h 192"/>
                  <a:gd name="T10" fmla="*/ 50 w 244"/>
                  <a:gd name="T11" fmla="*/ 32 h 192"/>
                  <a:gd name="T12" fmla="*/ 25 w 244"/>
                  <a:gd name="T13" fmla="*/ 40 h 192"/>
                  <a:gd name="T14" fmla="*/ 16 w 244"/>
                  <a:gd name="T15" fmla="*/ 72 h 192"/>
                  <a:gd name="T16" fmla="*/ 0 w 244"/>
                  <a:gd name="T17" fmla="*/ 64 h 192"/>
                  <a:gd name="T18" fmla="*/ 0 w 244"/>
                  <a:gd name="T19" fmla="*/ 88 h 192"/>
                  <a:gd name="T20" fmla="*/ 8 w 244"/>
                  <a:gd name="T21" fmla="*/ 144 h 192"/>
                  <a:gd name="T22" fmla="*/ 33 w 244"/>
                  <a:gd name="T23" fmla="*/ 176 h 192"/>
                  <a:gd name="T24" fmla="*/ 59 w 244"/>
                  <a:gd name="T25" fmla="*/ 184 h 192"/>
                  <a:gd name="T26" fmla="*/ 67 w 244"/>
                  <a:gd name="T27" fmla="*/ 192 h 192"/>
                  <a:gd name="T28" fmla="*/ 75 w 244"/>
                  <a:gd name="T29" fmla="*/ 192 h 192"/>
                  <a:gd name="T30" fmla="*/ 109 w 244"/>
                  <a:gd name="T31" fmla="*/ 176 h 192"/>
                  <a:gd name="T32" fmla="*/ 134 w 244"/>
                  <a:gd name="T33" fmla="*/ 176 h 192"/>
                  <a:gd name="T34" fmla="*/ 168 w 244"/>
                  <a:gd name="T35" fmla="*/ 136 h 192"/>
                  <a:gd name="T36" fmla="*/ 236 w 244"/>
                  <a:gd name="T37" fmla="*/ 128 h 192"/>
                  <a:gd name="T38" fmla="*/ 244 w 244"/>
                  <a:gd name="T39" fmla="*/ 104 h 192"/>
                  <a:gd name="T40" fmla="*/ 244 w 244"/>
                  <a:gd name="T41" fmla="*/ 64 h 192"/>
                  <a:gd name="T42" fmla="*/ 227 w 244"/>
                  <a:gd name="T43" fmla="*/ 32 h 19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244" h="192">
                    <a:moveTo>
                      <a:pt x="227" y="32"/>
                    </a:moveTo>
                    <a:lnTo>
                      <a:pt x="185" y="16"/>
                    </a:lnTo>
                    <a:lnTo>
                      <a:pt x="177" y="0"/>
                    </a:lnTo>
                    <a:lnTo>
                      <a:pt x="134" y="0"/>
                    </a:lnTo>
                    <a:lnTo>
                      <a:pt x="75" y="24"/>
                    </a:lnTo>
                    <a:lnTo>
                      <a:pt x="50" y="32"/>
                    </a:lnTo>
                    <a:lnTo>
                      <a:pt x="25" y="40"/>
                    </a:lnTo>
                    <a:lnTo>
                      <a:pt x="16" y="72"/>
                    </a:lnTo>
                    <a:lnTo>
                      <a:pt x="0" y="64"/>
                    </a:lnTo>
                    <a:lnTo>
                      <a:pt x="0" y="88"/>
                    </a:lnTo>
                    <a:lnTo>
                      <a:pt x="8" y="144"/>
                    </a:lnTo>
                    <a:lnTo>
                      <a:pt x="33" y="176"/>
                    </a:lnTo>
                    <a:lnTo>
                      <a:pt x="59" y="184"/>
                    </a:lnTo>
                    <a:lnTo>
                      <a:pt x="67" y="192"/>
                    </a:lnTo>
                    <a:lnTo>
                      <a:pt x="75" y="192"/>
                    </a:lnTo>
                    <a:lnTo>
                      <a:pt x="109" y="176"/>
                    </a:lnTo>
                    <a:lnTo>
                      <a:pt x="134" y="176"/>
                    </a:lnTo>
                    <a:lnTo>
                      <a:pt x="168" y="136"/>
                    </a:lnTo>
                    <a:lnTo>
                      <a:pt x="236" y="128"/>
                    </a:lnTo>
                    <a:lnTo>
                      <a:pt x="244" y="104"/>
                    </a:lnTo>
                    <a:lnTo>
                      <a:pt x="244" y="64"/>
                    </a:lnTo>
                    <a:lnTo>
                      <a:pt x="227" y="3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Freeform 74">
                <a:extLst>
                  <a:ext uri="{FF2B5EF4-FFF2-40B4-BE49-F238E27FC236}">
                    <a16:creationId xmlns:a16="http://schemas.microsoft.com/office/drawing/2014/main" id="{5213235A-D6EC-8890-8ADD-515AE225D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7829" y="5180133"/>
                <a:ext cx="823678" cy="569594"/>
              </a:xfrm>
              <a:custGeom>
                <a:avLst/>
                <a:gdLst>
                  <a:gd name="T0" fmla="*/ 455 w 590"/>
                  <a:gd name="T1" fmla="*/ 256 h 408"/>
                  <a:gd name="T2" fmla="*/ 489 w 590"/>
                  <a:gd name="T3" fmla="*/ 248 h 408"/>
                  <a:gd name="T4" fmla="*/ 514 w 590"/>
                  <a:gd name="T5" fmla="*/ 232 h 408"/>
                  <a:gd name="T6" fmla="*/ 565 w 590"/>
                  <a:gd name="T7" fmla="*/ 240 h 408"/>
                  <a:gd name="T8" fmla="*/ 590 w 590"/>
                  <a:gd name="T9" fmla="*/ 232 h 408"/>
                  <a:gd name="T10" fmla="*/ 565 w 590"/>
                  <a:gd name="T11" fmla="*/ 200 h 408"/>
                  <a:gd name="T12" fmla="*/ 523 w 590"/>
                  <a:gd name="T13" fmla="*/ 176 h 408"/>
                  <a:gd name="T14" fmla="*/ 548 w 590"/>
                  <a:gd name="T15" fmla="*/ 144 h 408"/>
                  <a:gd name="T16" fmla="*/ 548 w 590"/>
                  <a:gd name="T17" fmla="*/ 104 h 408"/>
                  <a:gd name="T18" fmla="*/ 548 w 590"/>
                  <a:gd name="T19" fmla="*/ 72 h 408"/>
                  <a:gd name="T20" fmla="*/ 573 w 590"/>
                  <a:gd name="T21" fmla="*/ 64 h 408"/>
                  <a:gd name="T22" fmla="*/ 582 w 590"/>
                  <a:gd name="T23" fmla="*/ 48 h 408"/>
                  <a:gd name="T24" fmla="*/ 582 w 590"/>
                  <a:gd name="T25" fmla="*/ 32 h 408"/>
                  <a:gd name="T26" fmla="*/ 582 w 590"/>
                  <a:gd name="T27" fmla="*/ 16 h 408"/>
                  <a:gd name="T28" fmla="*/ 531 w 590"/>
                  <a:gd name="T29" fmla="*/ 16 h 408"/>
                  <a:gd name="T30" fmla="*/ 523 w 590"/>
                  <a:gd name="T31" fmla="*/ 0 h 408"/>
                  <a:gd name="T32" fmla="*/ 481 w 590"/>
                  <a:gd name="T33" fmla="*/ 8 h 408"/>
                  <a:gd name="T34" fmla="*/ 455 w 590"/>
                  <a:gd name="T35" fmla="*/ 0 h 408"/>
                  <a:gd name="T36" fmla="*/ 413 w 590"/>
                  <a:gd name="T37" fmla="*/ 8 h 408"/>
                  <a:gd name="T38" fmla="*/ 363 w 590"/>
                  <a:gd name="T39" fmla="*/ 24 h 408"/>
                  <a:gd name="T40" fmla="*/ 321 w 590"/>
                  <a:gd name="T41" fmla="*/ 80 h 408"/>
                  <a:gd name="T42" fmla="*/ 270 w 590"/>
                  <a:gd name="T43" fmla="*/ 88 h 408"/>
                  <a:gd name="T44" fmla="*/ 219 w 590"/>
                  <a:gd name="T45" fmla="*/ 88 h 408"/>
                  <a:gd name="T46" fmla="*/ 194 w 590"/>
                  <a:gd name="T47" fmla="*/ 88 h 408"/>
                  <a:gd name="T48" fmla="*/ 169 w 590"/>
                  <a:gd name="T49" fmla="*/ 112 h 408"/>
                  <a:gd name="T50" fmla="*/ 76 w 590"/>
                  <a:gd name="T51" fmla="*/ 112 h 408"/>
                  <a:gd name="T52" fmla="*/ 43 w 590"/>
                  <a:gd name="T53" fmla="*/ 104 h 408"/>
                  <a:gd name="T54" fmla="*/ 43 w 590"/>
                  <a:gd name="T55" fmla="*/ 80 h 408"/>
                  <a:gd name="T56" fmla="*/ 9 w 590"/>
                  <a:gd name="T57" fmla="*/ 64 h 408"/>
                  <a:gd name="T58" fmla="*/ 0 w 590"/>
                  <a:gd name="T59" fmla="*/ 88 h 408"/>
                  <a:gd name="T60" fmla="*/ 9 w 590"/>
                  <a:gd name="T61" fmla="*/ 120 h 408"/>
                  <a:gd name="T62" fmla="*/ 26 w 590"/>
                  <a:gd name="T63" fmla="*/ 152 h 408"/>
                  <a:gd name="T64" fmla="*/ 68 w 590"/>
                  <a:gd name="T65" fmla="*/ 184 h 408"/>
                  <a:gd name="T66" fmla="*/ 51 w 590"/>
                  <a:gd name="T67" fmla="*/ 224 h 408"/>
                  <a:gd name="T68" fmla="*/ 34 w 590"/>
                  <a:gd name="T69" fmla="*/ 232 h 408"/>
                  <a:gd name="T70" fmla="*/ 34 w 590"/>
                  <a:gd name="T71" fmla="*/ 264 h 408"/>
                  <a:gd name="T72" fmla="*/ 51 w 590"/>
                  <a:gd name="T73" fmla="*/ 272 h 408"/>
                  <a:gd name="T74" fmla="*/ 43 w 590"/>
                  <a:gd name="T75" fmla="*/ 304 h 408"/>
                  <a:gd name="T76" fmla="*/ 51 w 590"/>
                  <a:gd name="T77" fmla="*/ 320 h 408"/>
                  <a:gd name="T78" fmla="*/ 93 w 590"/>
                  <a:gd name="T79" fmla="*/ 336 h 408"/>
                  <a:gd name="T80" fmla="*/ 110 w 590"/>
                  <a:gd name="T81" fmla="*/ 368 h 408"/>
                  <a:gd name="T82" fmla="*/ 110 w 590"/>
                  <a:gd name="T83" fmla="*/ 408 h 408"/>
                  <a:gd name="T84" fmla="*/ 110 w 590"/>
                  <a:gd name="T85" fmla="*/ 400 h 408"/>
                  <a:gd name="T86" fmla="*/ 152 w 590"/>
                  <a:gd name="T87" fmla="*/ 400 h 408"/>
                  <a:gd name="T88" fmla="*/ 194 w 590"/>
                  <a:gd name="T89" fmla="*/ 384 h 408"/>
                  <a:gd name="T90" fmla="*/ 245 w 590"/>
                  <a:gd name="T91" fmla="*/ 352 h 408"/>
                  <a:gd name="T92" fmla="*/ 278 w 590"/>
                  <a:gd name="T93" fmla="*/ 368 h 408"/>
                  <a:gd name="T94" fmla="*/ 312 w 590"/>
                  <a:gd name="T95" fmla="*/ 368 h 408"/>
                  <a:gd name="T96" fmla="*/ 337 w 590"/>
                  <a:gd name="T97" fmla="*/ 368 h 408"/>
                  <a:gd name="T98" fmla="*/ 396 w 590"/>
                  <a:gd name="T99" fmla="*/ 352 h 408"/>
                  <a:gd name="T100" fmla="*/ 430 w 590"/>
                  <a:gd name="T101" fmla="*/ 336 h 408"/>
                  <a:gd name="T102" fmla="*/ 422 w 590"/>
                  <a:gd name="T103" fmla="*/ 296 h 408"/>
                  <a:gd name="T104" fmla="*/ 447 w 590"/>
                  <a:gd name="T105" fmla="*/ 296 h 408"/>
                  <a:gd name="T106" fmla="*/ 455 w 590"/>
                  <a:gd name="T107" fmla="*/ 280 h 408"/>
                  <a:gd name="T108" fmla="*/ 455 w 590"/>
                  <a:gd name="T109" fmla="*/ 256 h 40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590" h="408">
                    <a:moveTo>
                      <a:pt x="455" y="256"/>
                    </a:moveTo>
                    <a:lnTo>
                      <a:pt x="489" y="248"/>
                    </a:lnTo>
                    <a:lnTo>
                      <a:pt x="514" y="232"/>
                    </a:lnTo>
                    <a:lnTo>
                      <a:pt x="565" y="240"/>
                    </a:lnTo>
                    <a:lnTo>
                      <a:pt x="590" y="232"/>
                    </a:lnTo>
                    <a:lnTo>
                      <a:pt x="565" y="200"/>
                    </a:lnTo>
                    <a:lnTo>
                      <a:pt x="523" y="176"/>
                    </a:lnTo>
                    <a:lnTo>
                      <a:pt x="548" y="144"/>
                    </a:lnTo>
                    <a:lnTo>
                      <a:pt x="548" y="104"/>
                    </a:lnTo>
                    <a:lnTo>
                      <a:pt x="548" y="72"/>
                    </a:lnTo>
                    <a:lnTo>
                      <a:pt x="573" y="64"/>
                    </a:lnTo>
                    <a:lnTo>
                      <a:pt x="582" y="48"/>
                    </a:lnTo>
                    <a:lnTo>
                      <a:pt x="582" y="32"/>
                    </a:lnTo>
                    <a:lnTo>
                      <a:pt x="582" y="16"/>
                    </a:lnTo>
                    <a:lnTo>
                      <a:pt x="531" y="16"/>
                    </a:lnTo>
                    <a:lnTo>
                      <a:pt x="523" y="0"/>
                    </a:lnTo>
                    <a:lnTo>
                      <a:pt x="481" y="8"/>
                    </a:lnTo>
                    <a:lnTo>
                      <a:pt x="455" y="0"/>
                    </a:lnTo>
                    <a:lnTo>
                      <a:pt x="413" y="8"/>
                    </a:lnTo>
                    <a:lnTo>
                      <a:pt x="363" y="24"/>
                    </a:lnTo>
                    <a:lnTo>
                      <a:pt x="321" y="80"/>
                    </a:lnTo>
                    <a:lnTo>
                      <a:pt x="270" y="88"/>
                    </a:lnTo>
                    <a:lnTo>
                      <a:pt x="219" y="88"/>
                    </a:lnTo>
                    <a:lnTo>
                      <a:pt x="194" y="88"/>
                    </a:lnTo>
                    <a:lnTo>
                      <a:pt x="169" y="112"/>
                    </a:lnTo>
                    <a:lnTo>
                      <a:pt x="76" y="112"/>
                    </a:lnTo>
                    <a:lnTo>
                      <a:pt x="43" y="104"/>
                    </a:lnTo>
                    <a:lnTo>
                      <a:pt x="43" y="80"/>
                    </a:lnTo>
                    <a:lnTo>
                      <a:pt x="9" y="64"/>
                    </a:lnTo>
                    <a:lnTo>
                      <a:pt x="0" y="88"/>
                    </a:lnTo>
                    <a:lnTo>
                      <a:pt x="9" y="120"/>
                    </a:lnTo>
                    <a:lnTo>
                      <a:pt x="26" y="152"/>
                    </a:lnTo>
                    <a:lnTo>
                      <a:pt x="68" y="184"/>
                    </a:lnTo>
                    <a:lnTo>
                      <a:pt x="51" y="224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51" y="272"/>
                    </a:lnTo>
                    <a:lnTo>
                      <a:pt x="43" y="304"/>
                    </a:lnTo>
                    <a:lnTo>
                      <a:pt x="51" y="320"/>
                    </a:lnTo>
                    <a:lnTo>
                      <a:pt x="93" y="336"/>
                    </a:lnTo>
                    <a:lnTo>
                      <a:pt x="110" y="368"/>
                    </a:lnTo>
                    <a:lnTo>
                      <a:pt x="110" y="408"/>
                    </a:lnTo>
                    <a:lnTo>
                      <a:pt x="110" y="400"/>
                    </a:lnTo>
                    <a:lnTo>
                      <a:pt x="152" y="400"/>
                    </a:lnTo>
                    <a:lnTo>
                      <a:pt x="194" y="384"/>
                    </a:lnTo>
                    <a:lnTo>
                      <a:pt x="245" y="352"/>
                    </a:lnTo>
                    <a:lnTo>
                      <a:pt x="278" y="368"/>
                    </a:lnTo>
                    <a:lnTo>
                      <a:pt x="312" y="368"/>
                    </a:lnTo>
                    <a:lnTo>
                      <a:pt x="337" y="368"/>
                    </a:lnTo>
                    <a:lnTo>
                      <a:pt x="396" y="352"/>
                    </a:lnTo>
                    <a:lnTo>
                      <a:pt x="430" y="336"/>
                    </a:lnTo>
                    <a:lnTo>
                      <a:pt x="422" y="296"/>
                    </a:lnTo>
                    <a:lnTo>
                      <a:pt x="447" y="296"/>
                    </a:lnTo>
                    <a:lnTo>
                      <a:pt x="455" y="280"/>
                    </a:lnTo>
                    <a:lnTo>
                      <a:pt x="455" y="25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Freeform 75">
                <a:extLst>
                  <a:ext uri="{FF2B5EF4-FFF2-40B4-BE49-F238E27FC236}">
                    <a16:creationId xmlns:a16="http://schemas.microsoft.com/office/drawing/2014/main" id="{656366E6-55B7-0139-882B-9751D79B3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0756" y="5604536"/>
                <a:ext cx="340640" cy="268045"/>
              </a:xfrm>
              <a:custGeom>
                <a:avLst/>
                <a:gdLst>
                  <a:gd name="T0" fmla="*/ 227 w 244"/>
                  <a:gd name="T1" fmla="*/ 32 h 192"/>
                  <a:gd name="T2" fmla="*/ 185 w 244"/>
                  <a:gd name="T3" fmla="*/ 16 h 192"/>
                  <a:gd name="T4" fmla="*/ 177 w 244"/>
                  <a:gd name="T5" fmla="*/ 0 h 192"/>
                  <a:gd name="T6" fmla="*/ 177 w 244"/>
                  <a:gd name="T7" fmla="*/ 0 h 192"/>
                  <a:gd name="T8" fmla="*/ 134 w 244"/>
                  <a:gd name="T9" fmla="*/ 0 h 192"/>
                  <a:gd name="T10" fmla="*/ 75 w 244"/>
                  <a:gd name="T11" fmla="*/ 24 h 192"/>
                  <a:gd name="T12" fmla="*/ 50 w 244"/>
                  <a:gd name="T13" fmla="*/ 32 h 192"/>
                  <a:gd name="T14" fmla="*/ 25 w 244"/>
                  <a:gd name="T15" fmla="*/ 40 h 192"/>
                  <a:gd name="T16" fmla="*/ 16 w 244"/>
                  <a:gd name="T17" fmla="*/ 72 h 192"/>
                  <a:gd name="T18" fmla="*/ 0 w 244"/>
                  <a:gd name="T19" fmla="*/ 64 h 192"/>
                  <a:gd name="T20" fmla="*/ 0 w 244"/>
                  <a:gd name="T21" fmla="*/ 88 h 192"/>
                  <a:gd name="T22" fmla="*/ 8 w 244"/>
                  <a:gd name="T23" fmla="*/ 144 h 192"/>
                  <a:gd name="T24" fmla="*/ 33 w 244"/>
                  <a:gd name="T25" fmla="*/ 176 h 192"/>
                  <a:gd name="T26" fmla="*/ 59 w 244"/>
                  <a:gd name="T27" fmla="*/ 184 h 192"/>
                  <a:gd name="T28" fmla="*/ 67 w 244"/>
                  <a:gd name="T29" fmla="*/ 192 h 192"/>
                  <a:gd name="T30" fmla="*/ 75 w 244"/>
                  <a:gd name="T31" fmla="*/ 192 h 192"/>
                  <a:gd name="T32" fmla="*/ 109 w 244"/>
                  <a:gd name="T33" fmla="*/ 176 h 192"/>
                  <a:gd name="T34" fmla="*/ 134 w 244"/>
                  <a:gd name="T35" fmla="*/ 176 h 192"/>
                  <a:gd name="T36" fmla="*/ 168 w 244"/>
                  <a:gd name="T37" fmla="*/ 136 h 192"/>
                  <a:gd name="T38" fmla="*/ 236 w 244"/>
                  <a:gd name="T39" fmla="*/ 128 h 192"/>
                  <a:gd name="T40" fmla="*/ 244 w 244"/>
                  <a:gd name="T41" fmla="*/ 104 h 192"/>
                  <a:gd name="T42" fmla="*/ 244 w 244"/>
                  <a:gd name="T43" fmla="*/ 64 h 192"/>
                  <a:gd name="T44" fmla="*/ 227 w 244"/>
                  <a:gd name="T45" fmla="*/ 32 h 19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244" h="192">
                    <a:moveTo>
                      <a:pt x="227" y="32"/>
                    </a:moveTo>
                    <a:lnTo>
                      <a:pt x="185" y="16"/>
                    </a:lnTo>
                    <a:lnTo>
                      <a:pt x="177" y="0"/>
                    </a:lnTo>
                    <a:lnTo>
                      <a:pt x="134" y="0"/>
                    </a:lnTo>
                    <a:lnTo>
                      <a:pt x="75" y="24"/>
                    </a:lnTo>
                    <a:lnTo>
                      <a:pt x="50" y="32"/>
                    </a:lnTo>
                    <a:lnTo>
                      <a:pt x="25" y="40"/>
                    </a:lnTo>
                    <a:lnTo>
                      <a:pt x="16" y="72"/>
                    </a:lnTo>
                    <a:lnTo>
                      <a:pt x="0" y="64"/>
                    </a:lnTo>
                    <a:lnTo>
                      <a:pt x="0" y="88"/>
                    </a:lnTo>
                    <a:lnTo>
                      <a:pt x="8" y="144"/>
                    </a:lnTo>
                    <a:lnTo>
                      <a:pt x="33" y="176"/>
                    </a:lnTo>
                    <a:lnTo>
                      <a:pt x="59" y="184"/>
                    </a:lnTo>
                    <a:lnTo>
                      <a:pt x="67" y="192"/>
                    </a:lnTo>
                    <a:lnTo>
                      <a:pt x="75" y="192"/>
                    </a:lnTo>
                    <a:lnTo>
                      <a:pt x="109" y="176"/>
                    </a:lnTo>
                    <a:lnTo>
                      <a:pt x="134" y="176"/>
                    </a:lnTo>
                    <a:lnTo>
                      <a:pt x="168" y="136"/>
                    </a:lnTo>
                    <a:lnTo>
                      <a:pt x="236" y="128"/>
                    </a:lnTo>
                    <a:lnTo>
                      <a:pt x="244" y="104"/>
                    </a:lnTo>
                    <a:lnTo>
                      <a:pt x="244" y="64"/>
                    </a:lnTo>
                    <a:lnTo>
                      <a:pt x="227" y="32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76">
                <a:extLst>
                  <a:ext uri="{FF2B5EF4-FFF2-40B4-BE49-F238E27FC236}">
                    <a16:creationId xmlns:a16="http://schemas.microsoft.com/office/drawing/2014/main" id="{EC426E28-3467-39D6-37FC-ADD3A4058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7829" y="5180133"/>
                <a:ext cx="823678" cy="569594"/>
              </a:xfrm>
              <a:custGeom>
                <a:avLst/>
                <a:gdLst>
                  <a:gd name="T0" fmla="*/ 455 w 590"/>
                  <a:gd name="T1" fmla="*/ 256 h 408"/>
                  <a:gd name="T2" fmla="*/ 489 w 590"/>
                  <a:gd name="T3" fmla="*/ 248 h 408"/>
                  <a:gd name="T4" fmla="*/ 514 w 590"/>
                  <a:gd name="T5" fmla="*/ 232 h 408"/>
                  <a:gd name="T6" fmla="*/ 565 w 590"/>
                  <a:gd name="T7" fmla="*/ 240 h 408"/>
                  <a:gd name="T8" fmla="*/ 590 w 590"/>
                  <a:gd name="T9" fmla="*/ 232 h 408"/>
                  <a:gd name="T10" fmla="*/ 565 w 590"/>
                  <a:gd name="T11" fmla="*/ 200 h 408"/>
                  <a:gd name="T12" fmla="*/ 523 w 590"/>
                  <a:gd name="T13" fmla="*/ 176 h 408"/>
                  <a:gd name="T14" fmla="*/ 548 w 590"/>
                  <a:gd name="T15" fmla="*/ 144 h 408"/>
                  <a:gd name="T16" fmla="*/ 548 w 590"/>
                  <a:gd name="T17" fmla="*/ 104 h 408"/>
                  <a:gd name="T18" fmla="*/ 548 w 590"/>
                  <a:gd name="T19" fmla="*/ 72 h 408"/>
                  <a:gd name="T20" fmla="*/ 573 w 590"/>
                  <a:gd name="T21" fmla="*/ 64 h 408"/>
                  <a:gd name="T22" fmla="*/ 582 w 590"/>
                  <a:gd name="T23" fmla="*/ 48 h 408"/>
                  <a:gd name="T24" fmla="*/ 582 w 590"/>
                  <a:gd name="T25" fmla="*/ 32 h 408"/>
                  <a:gd name="T26" fmla="*/ 582 w 590"/>
                  <a:gd name="T27" fmla="*/ 16 h 408"/>
                  <a:gd name="T28" fmla="*/ 531 w 590"/>
                  <a:gd name="T29" fmla="*/ 16 h 408"/>
                  <a:gd name="T30" fmla="*/ 523 w 590"/>
                  <a:gd name="T31" fmla="*/ 0 h 408"/>
                  <a:gd name="T32" fmla="*/ 481 w 590"/>
                  <a:gd name="T33" fmla="*/ 8 h 408"/>
                  <a:gd name="T34" fmla="*/ 455 w 590"/>
                  <a:gd name="T35" fmla="*/ 0 h 408"/>
                  <a:gd name="T36" fmla="*/ 413 w 590"/>
                  <a:gd name="T37" fmla="*/ 8 h 408"/>
                  <a:gd name="T38" fmla="*/ 363 w 590"/>
                  <a:gd name="T39" fmla="*/ 24 h 408"/>
                  <a:gd name="T40" fmla="*/ 321 w 590"/>
                  <a:gd name="T41" fmla="*/ 80 h 408"/>
                  <a:gd name="T42" fmla="*/ 270 w 590"/>
                  <a:gd name="T43" fmla="*/ 88 h 408"/>
                  <a:gd name="T44" fmla="*/ 219 w 590"/>
                  <a:gd name="T45" fmla="*/ 88 h 408"/>
                  <a:gd name="T46" fmla="*/ 194 w 590"/>
                  <a:gd name="T47" fmla="*/ 88 h 408"/>
                  <a:gd name="T48" fmla="*/ 169 w 590"/>
                  <a:gd name="T49" fmla="*/ 112 h 408"/>
                  <a:gd name="T50" fmla="*/ 76 w 590"/>
                  <a:gd name="T51" fmla="*/ 112 h 408"/>
                  <a:gd name="T52" fmla="*/ 43 w 590"/>
                  <a:gd name="T53" fmla="*/ 104 h 408"/>
                  <a:gd name="T54" fmla="*/ 43 w 590"/>
                  <a:gd name="T55" fmla="*/ 80 h 408"/>
                  <a:gd name="T56" fmla="*/ 9 w 590"/>
                  <a:gd name="T57" fmla="*/ 64 h 408"/>
                  <a:gd name="T58" fmla="*/ 0 w 590"/>
                  <a:gd name="T59" fmla="*/ 88 h 408"/>
                  <a:gd name="T60" fmla="*/ 9 w 590"/>
                  <a:gd name="T61" fmla="*/ 120 h 408"/>
                  <a:gd name="T62" fmla="*/ 26 w 590"/>
                  <a:gd name="T63" fmla="*/ 152 h 408"/>
                  <a:gd name="T64" fmla="*/ 68 w 590"/>
                  <a:gd name="T65" fmla="*/ 184 h 408"/>
                  <a:gd name="T66" fmla="*/ 51 w 590"/>
                  <a:gd name="T67" fmla="*/ 224 h 408"/>
                  <a:gd name="T68" fmla="*/ 34 w 590"/>
                  <a:gd name="T69" fmla="*/ 232 h 408"/>
                  <a:gd name="T70" fmla="*/ 34 w 590"/>
                  <a:gd name="T71" fmla="*/ 264 h 408"/>
                  <a:gd name="T72" fmla="*/ 51 w 590"/>
                  <a:gd name="T73" fmla="*/ 272 h 408"/>
                  <a:gd name="T74" fmla="*/ 43 w 590"/>
                  <a:gd name="T75" fmla="*/ 304 h 408"/>
                  <a:gd name="T76" fmla="*/ 51 w 590"/>
                  <a:gd name="T77" fmla="*/ 320 h 408"/>
                  <a:gd name="T78" fmla="*/ 93 w 590"/>
                  <a:gd name="T79" fmla="*/ 336 h 408"/>
                  <a:gd name="T80" fmla="*/ 110 w 590"/>
                  <a:gd name="T81" fmla="*/ 368 h 408"/>
                  <a:gd name="T82" fmla="*/ 110 w 590"/>
                  <a:gd name="T83" fmla="*/ 408 h 408"/>
                  <a:gd name="T84" fmla="*/ 110 w 590"/>
                  <a:gd name="T85" fmla="*/ 400 h 408"/>
                  <a:gd name="T86" fmla="*/ 152 w 590"/>
                  <a:gd name="T87" fmla="*/ 400 h 408"/>
                  <a:gd name="T88" fmla="*/ 194 w 590"/>
                  <a:gd name="T89" fmla="*/ 384 h 408"/>
                  <a:gd name="T90" fmla="*/ 245 w 590"/>
                  <a:gd name="T91" fmla="*/ 352 h 408"/>
                  <a:gd name="T92" fmla="*/ 278 w 590"/>
                  <a:gd name="T93" fmla="*/ 368 h 408"/>
                  <a:gd name="T94" fmla="*/ 312 w 590"/>
                  <a:gd name="T95" fmla="*/ 368 h 408"/>
                  <a:gd name="T96" fmla="*/ 337 w 590"/>
                  <a:gd name="T97" fmla="*/ 368 h 408"/>
                  <a:gd name="T98" fmla="*/ 396 w 590"/>
                  <a:gd name="T99" fmla="*/ 352 h 408"/>
                  <a:gd name="T100" fmla="*/ 430 w 590"/>
                  <a:gd name="T101" fmla="*/ 336 h 408"/>
                  <a:gd name="T102" fmla="*/ 422 w 590"/>
                  <a:gd name="T103" fmla="*/ 296 h 408"/>
                  <a:gd name="T104" fmla="*/ 447 w 590"/>
                  <a:gd name="T105" fmla="*/ 296 h 408"/>
                  <a:gd name="T106" fmla="*/ 447 w 590"/>
                  <a:gd name="T107" fmla="*/ 296 h 408"/>
                  <a:gd name="T108" fmla="*/ 455 w 590"/>
                  <a:gd name="T109" fmla="*/ 280 h 408"/>
                  <a:gd name="T110" fmla="*/ 455 w 590"/>
                  <a:gd name="T111" fmla="*/ 256 h 4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90" h="408">
                    <a:moveTo>
                      <a:pt x="455" y="256"/>
                    </a:moveTo>
                    <a:lnTo>
                      <a:pt x="489" y="248"/>
                    </a:lnTo>
                    <a:lnTo>
                      <a:pt x="514" y="232"/>
                    </a:lnTo>
                    <a:lnTo>
                      <a:pt x="565" y="240"/>
                    </a:lnTo>
                    <a:lnTo>
                      <a:pt x="590" y="232"/>
                    </a:lnTo>
                    <a:lnTo>
                      <a:pt x="565" y="200"/>
                    </a:lnTo>
                    <a:lnTo>
                      <a:pt x="523" y="176"/>
                    </a:lnTo>
                    <a:lnTo>
                      <a:pt x="548" y="144"/>
                    </a:lnTo>
                    <a:lnTo>
                      <a:pt x="548" y="104"/>
                    </a:lnTo>
                    <a:lnTo>
                      <a:pt x="548" y="72"/>
                    </a:lnTo>
                    <a:lnTo>
                      <a:pt x="573" y="64"/>
                    </a:lnTo>
                    <a:lnTo>
                      <a:pt x="582" y="48"/>
                    </a:lnTo>
                    <a:lnTo>
                      <a:pt x="582" y="32"/>
                    </a:lnTo>
                    <a:lnTo>
                      <a:pt x="582" y="16"/>
                    </a:lnTo>
                    <a:lnTo>
                      <a:pt x="531" y="16"/>
                    </a:lnTo>
                    <a:lnTo>
                      <a:pt x="523" y="0"/>
                    </a:lnTo>
                    <a:lnTo>
                      <a:pt x="481" y="8"/>
                    </a:lnTo>
                    <a:lnTo>
                      <a:pt x="455" y="0"/>
                    </a:lnTo>
                    <a:lnTo>
                      <a:pt x="413" y="8"/>
                    </a:lnTo>
                    <a:lnTo>
                      <a:pt x="363" y="24"/>
                    </a:lnTo>
                    <a:lnTo>
                      <a:pt x="321" y="80"/>
                    </a:lnTo>
                    <a:lnTo>
                      <a:pt x="270" y="88"/>
                    </a:lnTo>
                    <a:lnTo>
                      <a:pt x="219" y="88"/>
                    </a:lnTo>
                    <a:lnTo>
                      <a:pt x="194" y="88"/>
                    </a:lnTo>
                    <a:lnTo>
                      <a:pt x="169" y="112"/>
                    </a:lnTo>
                    <a:lnTo>
                      <a:pt x="76" y="112"/>
                    </a:lnTo>
                    <a:lnTo>
                      <a:pt x="43" y="104"/>
                    </a:lnTo>
                    <a:lnTo>
                      <a:pt x="43" y="80"/>
                    </a:lnTo>
                    <a:lnTo>
                      <a:pt x="9" y="64"/>
                    </a:lnTo>
                    <a:lnTo>
                      <a:pt x="0" y="88"/>
                    </a:lnTo>
                    <a:lnTo>
                      <a:pt x="9" y="120"/>
                    </a:lnTo>
                    <a:lnTo>
                      <a:pt x="26" y="152"/>
                    </a:lnTo>
                    <a:lnTo>
                      <a:pt x="68" y="184"/>
                    </a:lnTo>
                    <a:lnTo>
                      <a:pt x="51" y="224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51" y="272"/>
                    </a:lnTo>
                    <a:lnTo>
                      <a:pt x="43" y="304"/>
                    </a:lnTo>
                    <a:lnTo>
                      <a:pt x="51" y="320"/>
                    </a:lnTo>
                    <a:lnTo>
                      <a:pt x="93" y="336"/>
                    </a:lnTo>
                    <a:lnTo>
                      <a:pt x="110" y="368"/>
                    </a:lnTo>
                    <a:lnTo>
                      <a:pt x="110" y="408"/>
                    </a:lnTo>
                    <a:lnTo>
                      <a:pt x="110" y="400"/>
                    </a:lnTo>
                    <a:lnTo>
                      <a:pt x="152" y="400"/>
                    </a:lnTo>
                    <a:lnTo>
                      <a:pt x="194" y="384"/>
                    </a:lnTo>
                    <a:lnTo>
                      <a:pt x="245" y="352"/>
                    </a:lnTo>
                    <a:lnTo>
                      <a:pt x="278" y="368"/>
                    </a:lnTo>
                    <a:lnTo>
                      <a:pt x="312" y="368"/>
                    </a:lnTo>
                    <a:lnTo>
                      <a:pt x="337" y="368"/>
                    </a:lnTo>
                    <a:lnTo>
                      <a:pt x="396" y="352"/>
                    </a:lnTo>
                    <a:lnTo>
                      <a:pt x="430" y="336"/>
                    </a:lnTo>
                    <a:lnTo>
                      <a:pt x="422" y="296"/>
                    </a:lnTo>
                    <a:lnTo>
                      <a:pt x="447" y="296"/>
                    </a:lnTo>
                    <a:lnTo>
                      <a:pt x="455" y="280"/>
                    </a:lnTo>
                    <a:lnTo>
                      <a:pt x="455" y="256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83" name="Grupo 80">
                <a:extLst>
                  <a:ext uri="{FF2B5EF4-FFF2-40B4-BE49-F238E27FC236}">
                    <a16:creationId xmlns:a16="http://schemas.microsoft.com/office/drawing/2014/main" id="{84E71D09-C3A7-D52E-7912-0C151A44EFC4}"/>
                  </a:ext>
                </a:extLst>
              </p:cNvPr>
              <p:cNvGrpSpPr/>
              <p:nvPr/>
            </p:nvGrpSpPr>
            <p:grpSpPr>
              <a:xfrm>
                <a:off x="10110701" y="5504019"/>
                <a:ext cx="2045551" cy="1008310"/>
                <a:chOff x="5305342" y="4562319"/>
                <a:chExt cx="1658757" cy="817648"/>
              </a:xfrm>
              <a:grpFill/>
            </p:grpSpPr>
            <p:grpSp>
              <p:nvGrpSpPr>
                <p:cNvPr id="128" name="Grupo 81">
                  <a:extLst>
                    <a:ext uri="{FF2B5EF4-FFF2-40B4-BE49-F238E27FC236}">
                      <a16:creationId xmlns:a16="http://schemas.microsoft.com/office/drawing/2014/main" id="{0B9C8E34-FD97-FFF1-C1FE-79AFC5751C2C}"/>
                    </a:ext>
                  </a:extLst>
                </p:cNvPr>
                <p:cNvGrpSpPr/>
                <p:nvPr/>
              </p:nvGrpSpPr>
              <p:grpSpPr>
                <a:xfrm>
                  <a:off x="5305342" y="4562319"/>
                  <a:ext cx="1658757" cy="817648"/>
                  <a:chOff x="5305342" y="4562319"/>
                  <a:chExt cx="1658757" cy="817648"/>
                </a:xfrm>
                <a:grpFill/>
              </p:grpSpPr>
              <p:sp>
                <p:nvSpPr>
                  <p:cNvPr id="130" name="Freeform 78">
                    <a:extLst>
                      <a:ext uri="{FF2B5EF4-FFF2-40B4-BE49-F238E27FC236}">
                        <a16:creationId xmlns:a16="http://schemas.microsoft.com/office/drawing/2014/main" id="{87ECDF46-F113-9037-C0E2-4719087962A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05342" y="4562319"/>
                    <a:ext cx="409814" cy="697363"/>
                  </a:xfrm>
                  <a:custGeom>
                    <a:avLst/>
                    <a:gdLst>
                      <a:gd name="T0" fmla="*/ 303 w 362"/>
                      <a:gd name="T1" fmla="*/ 56 h 616"/>
                      <a:gd name="T2" fmla="*/ 219 w 362"/>
                      <a:gd name="T3" fmla="*/ 40 h 616"/>
                      <a:gd name="T4" fmla="*/ 185 w 362"/>
                      <a:gd name="T5" fmla="*/ 24 h 616"/>
                      <a:gd name="T6" fmla="*/ 151 w 362"/>
                      <a:gd name="T7" fmla="*/ 0 h 616"/>
                      <a:gd name="T8" fmla="*/ 126 w 362"/>
                      <a:gd name="T9" fmla="*/ 8 h 616"/>
                      <a:gd name="T10" fmla="*/ 75 w 362"/>
                      <a:gd name="T11" fmla="*/ 0 h 616"/>
                      <a:gd name="T12" fmla="*/ 50 w 362"/>
                      <a:gd name="T13" fmla="*/ 16 h 616"/>
                      <a:gd name="T14" fmla="*/ 16 w 362"/>
                      <a:gd name="T15" fmla="*/ 24 h 616"/>
                      <a:gd name="T16" fmla="*/ 16 w 362"/>
                      <a:gd name="T17" fmla="*/ 48 h 616"/>
                      <a:gd name="T18" fmla="*/ 8 w 362"/>
                      <a:gd name="T19" fmla="*/ 64 h 616"/>
                      <a:gd name="T20" fmla="*/ 33 w 362"/>
                      <a:gd name="T21" fmla="*/ 88 h 616"/>
                      <a:gd name="T22" fmla="*/ 16 w 362"/>
                      <a:gd name="T23" fmla="*/ 136 h 616"/>
                      <a:gd name="T24" fmla="*/ 25 w 362"/>
                      <a:gd name="T25" fmla="*/ 160 h 616"/>
                      <a:gd name="T26" fmla="*/ 0 w 362"/>
                      <a:gd name="T27" fmla="*/ 192 h 616"/>
                      <a:gd name="T28" fmla="*/ 0 w 362"/>
                      <a:gd name="T29" fmla="*/ 200 h 616"/>
                      <a:gd name="T30" fmla="*/ 67 w 362"/>
                      <a:gd name="T31" fmla="*/ 184 h 616"/>
                      <a:gd name="T32" fmla="*/ 42 w 362"/>
                      <a:gd name="T33" fmla="*/ 216 h 616"/>
                      <a:gd name="T34" fmla="*/ 33 w 362"/>
                      <a:gd name="T35" fmla="*/ 256 h 616"/>
                      <a:gd name="T36" fmla="*/ 50 w 362"/>
                      <a:gd name="T37" fmla="*/ 328 h 616"/>
                      <a:gd name="T38" fmla="*/ 118 w 362"/>
                      <a:gd name="T39" fmla="*/ 312 h 616"/>
                      <a:gd name="T40" fmla="*/ 118 w 362"/>
                      <a:gd name="T41" fmla="*/ 352 h 616"/>
                      <a:gd name="T42" fmla="*/ 160 w 362"/>
                      <a:gd name="T43" fmla="*/ 384 h 616"/>
                      <a:gd name="T44" fmla="*/ 151 w 362"/>
                      <a:gd name="T45" fmla="*/ 408 h 616"/>
                      <a:gd name="T46" fmla="*/ 168 w 362"/>
                      <a:gd name="T47" fmla="*/ 432 h 616"/>
                      <a:gd name="T48" fmla="*/ 134 w 362"/>
                      <a:gd name="T49" fmla="*/ 448 h 616"/>
                      <a:gd name="T50" fmla="*/ 101 w 362"/>
                      <a:gd name="T51" fmla="*/ 440 h 616"/>
                      <a:gd name="T52" fmla="*/ 101 w 362"/>
                      <a:gd name="T53" fmla="*/ 472 h 616"/>
                      <a:gd name="T54" fmla="*/ 126 w 362"/>
                      <a:gd name="T55" fmla="*/ 496 h 616"/>
                      <a:gd name="T56" fmla="*/ 151 w 362"/>
                      <a:gd name="T57" fmla="*/ 480 h 616"/>
                      <a:gd name="T58" fmla="*/ 168 w 362"/>
                      <a:gd name="T59" fmla="*/ 480 h 616"/>
                      <a:gd name="T60" fmla="*/ 185 w 362"/>
                      <a:gd name="T61" fmla="*/ 488 h 616"/>
                      <a:gd name="T62" fmla="*/ 219 w 362"/>
                      <a:gd name="T63" fmla="*/ 504 h 616"/>
                      <a:gd name="T64" fmla="*/ 227 w 362"/>
                      <a:gd name="T65" fmla="*/ 528 h 616"/>
                      <a:gd name="T66" fmla="*/ 235 w 362"/>
                      <a:gd name="T67" fmla="*/ 560 h 616"/>
                      <a:gd name="T68" fmla="*/ 269 w 362"/>
                      <a:gd name="T69" fmla="*/ 576 h 616"/>
                      <a:gd name="T70" fmla="*/ 244 w 362"/>
                      <a:gd name="T71" fmla="*/ 592 h 616"/>
                      <a:gd name="T72" fmla="*/ 244 w 362"/>
                      <a:gd name="T73" fmla="*/ 600 h 616"/>
                      <a:gd name="T74" fmla="*/ 261 w 362"/>
                      <a:gd name="T75" fmla="*/ 600 h 616"/>
                      <a:gd name="T76" fmla="*/ 345 w 362"/>
                      <a:gd name="T77" fmla="*/ 584 h 616"/>
                      <a:gd name="T78" fmla="*/ 337 w 362"/>
                      <a:gd name="T79" fmla="*/ 616 h 616"/>
                      <a:gd name="T80" fmla="*/ 362 w 362"/>
                      <a:gd name="T81" fmla="*/ 600 h 616"/>
                      <a:gd name="T82" fmla="*/ 354 w 362"/>
                      <a:gd name="T83" fmla="*/ 50 h 616"/>
                      <a:gd name="T84" fmla="*/ 303 w 362"/>
                      <a:gd name="T85" fmla="*/ 56 h 616"/>
                      <a:gd name="T86" fmla="*/ 303 w 362"/>
                      <a:gd name="T87" fmla="*/ 56 h 61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362" h="616">
                        <a:moveTo>
                          <a:pt x="303" y="56"/>
                        </a:moveTo>
                        <a:lnTo>
                          <a:pt x="219" y="40"/>
                        </a:lnTo>
                        <a:lnTo>
                          <a:pt x="185" y="24"/>
                        </a:lnTo>
                        <a:lnTo>
                          <a:pt x="151" y="0"/>
                        </a:lnTo>
                        <a:lnTo>
                          <a:pt x="126" y="8"/>
                        </a:lnTo>
                        <a:lnTo>
                          <a:pt x="75" y="0"/>
                        </a:lnTo>
                        <a:lnTo>
                          <a:pt x="50" y="16"/>
                        </a:lnTo>
                        <a:lnTo>
                          <a:pt x="16" y="24"/>
                        </a:lnTo>
                        <a:lnTo>
                          <a:pt x="16" y="48"/>
                        </a:lnTo>
                        <a:lnTo>
                          <a:pt x="8" y="64"/>
                        </a:lnTo>
                        <a:lnTo>
                          <a:pt x="33" y="88"/>
                        </a:lnTo>
                        <a:lnTo>
                          <a:pt x="16" y="136"/>
                        </a:lnTo>
                        <a:lnTo>
                          <a:pt x="25" y="160"/>
                        </a:lnTo>
                        <a:lnTo>
                          <a:pt x="0" y="192"/>
                        </a:lnTo>
                        <a:lnTo>
                          <a:pt x="0" y="200"/>
                        </a:lnTo>
                        <a:lnTo>
                          <a:pt x="67" y="184"/>
                        </a:lnTo>
                        <a:lnTo>
                          <a:pt x="42" y="216"/>
                        </a:lnTo>
                        <a:lnTo>
                          <a:pt x="33" y="256"/>
                        </a:lnTo>
                        <a:lnTo>
                          <a:pt x="50" y="328"/>
                        </a:lnTo>
                        <a:lnTo>
                          <a:pt x="118" y="312"/>
                        </a:lnTo>
                        <a:lnTo>
                          <a:pt x="118" y="352"/>
                        </a:lnTo>
                        <a:lnTo>
                          <a:pt x="160" y="384"/>
                        </a:lnTo>
                        <a:lnTo>
                          <a:pt x="151" y="408"/>
                        </a:lnTo>
                        <a:lnTo>
                          <a:pt x="168" y="432"/>
                        </a:lnTo>
                        <a:lnTo>
                          <a:pt x="134" y="448"/>
                        </a:lnTo>
                        <a:lnTo>
                          <a:pt x="101" y="440"/>
                        </a:lnTo>
                        <a:lnTo>
                          <a:pt x="101" y="472"/>
                        </a:lnTo>
                        <a:lnTo>
                          <a:pt x="126" y="496"/>
                        </a:lnTo>
                        <a:lnTo>
                          <a:pt x="151" y="480"/>
                        </a:lnTo>
                        <a:lnTo>
                          <a:pt x="168" y="480"/>
                        </a:lnTo>
                        <a:lnTo>
                          <a:pt x="185" y="488"/>
                        </a:lnTo>
                        <a:lnTo>
                          <a:pt x="219" y="504"/>
                        </a:lnTo>
                        <a:lnTo>
                          <a:pt x="227" y="528"/>
                        </a:lnTo>
                        <a:lnTo>
                          <a:pt x="235" y="560"/>
                        </a:lnTo>
                        <a:lnTo>
                          <a:pt x="269" y="576"/>
                        </a:lnTo>
                        <a:lnTo>
                          <a:pt x="244" y="592"/>
                        </a:lnTo>
                        <a:lnTo>
                          <a:pt x="244" y="600"/>
                        </a:lnTo>
                        <a:lnTo>
                          <a:pt x="261" y="600"/>
                        </a:lnTo>
                        <a:lnTo>
                          <a:pt x="345" y="584"/>
                        </a:lnTo>
                        <a:lnTo>
                          <a:pt x="337" y="616"/>
                        </a:lnTo>
                        <a:lnTo>
                          <a:pt x="362" y="600"/>
                        </a:lnTo>
                        <a:lnTo>
                          <a:pt x="354" y="50"/>
                        </a:lnTo>
                        <a:lnTo>
                          <a:pt x="303" y="5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>
                    <a:defPPr>
                      <a:defRPr lang="es-E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81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 11">
                    <a:extLst>
                      <a:ext uri="{FF2B5EF4-FFF2-40B4-BE49-F238E27FC236}">
                        <a16:creationId xmlns:a16="http://schemas.microsoft.com/office/drawing/2014/main" id="{2DB6EF96-5B1B-C020-7660-ECD1BE4F97A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455105" y="4757405"/>
                    <a:ext cx="1508994" cy="622562"/>
                  </a:xfrm>
                  <a:custGeom>
                    <a:avLst/>
                    <a:gdLst>
                      <a:gd name="T0" fmla="*/ 34 w 59"/>
                      <a:gd name="T1" fmla="*/ 20 h 23"/>
                      <a:gd name="T2" fmla="*/ 36 w 59"/>
                      <a:gd name="T3" fmla="*/ 21 h 23"/>
                      <a:gd name="T4" fmla="*/ 47 w 59"/>
                      <a:gd name="T5" fmla="*/ 20 h 23"/>
                      <a:gd name="T6" fmla="*/ 52 w 59"/>
                      <a:gd name="T7" fmla="*/ 19 h 23"/>
                      <a:gd name="T8" fmla="*/ 57 w 59"/>
                      <a:gd name="T9" fmla="*/ 18 h 23"/>
                      <a:gd name="T10" fmla="*/ 59 w 59"/>
                      <a:gd name="T11" fmla="*/ 19 h 23"/>
                      <a:gd name="T12" fmla="*/ 58 w 59"/>
                      <a:gd name="T13" fmla="*/ 16 h 23"/>
                      <a:gd name="T14" fmla="*/ 58 w 59"/>
                      <a:gd name="T15" fmla="*/ 9 h 23"/>
                      <a:gd name="T16" fmla="*/ 59 w 59"/>
                      <a:gd name="T17" fmla="*/ 8 h 23"/>
                      <a:gd name="T18" fmla="*/ 55 w 59"/>
                      <a:gd name="T19" fmla="*/ 3 h 23"/>
                      <a:gd name="T20" fmla="*/ 53 w 59"/>
                      <a:gd name="T21" fmla="*/ 1 h 23"/>
                      <a:gd name="T22" fmla="*/ 50 w 59"/>
                      <a:gd name="T23" fmla="*/ 1 h 23"/>
                      <a:gd name="T24" fmla="*/ 49 w 59"/>
                      <a:gd name="T25" fmla="*/ 0 h 23"/>
                      <a:gd name="T26" fmla="*/ 49 w 59"/>
                      <a:gd name="T27" fmla="*/ 0 h 23"/>
                      <a:gd name="T28" fmla="*/ 45 w 59"/>
                      <a:gd name="T29" fmla="*/ 3 h 23"/>
                      <a:gd name="T30" fmla="*/ 40 w 59"/>
                      <a:gd name="T31" fmla="*/ 3 h 23"/>
                      <a:gd name="T32" fmla="*/ 39 w 59"/>
                      <a:gd name="T33" fmla="*/ 3 h 23"/>
                      <a:gd name="T34" fmla="*/ 39 w 59"/>
                      <a:gd name="T35" fmla="*/ 3 h 23"/>
                      <a:gd name="T36" fmla="*/ 35 w 59"/>
                      <a:gd name="T37" fmla="*/ 1 h 23"/>
                      <a:gd name="T38" fmla="*/ 32 w 59"/>
                      <a:gd name="T39" fmla="*/ 0 h 23"/>
                      <a:gd name="T40" fmla="*/ 24 w 59"/>
                      <a:gd name="T41" fmla="*/ 0 h 23"/>
                      <a:gd name="T42" fmla="*/ 22 w 59"/>
                      <a:gd name="T43" fmla="*/ 0 h 23"/>
                      <a:gd name="T44" fmla="*/ 19 w 59"/>
                      <a:gd name="T45" fmla="*/ 1 h 23"/>
                      <a:gd name="T46" fmla="*/ 17 w 59"/>
                      <a:gd name="T47" fmla="*/ 3 h 23"/>
                      <a:gd name="T48" fmla="*/ 12 w 59"/>
                      <a:gd name="T49" fmla="*/ 4 h 23"/>
                      <a:gd name="T50" fmla="*/ 11 w 59"/>
                      <a:gd name="T51" fmla="*/ 3 h 23"/>
                      <a:gd name="T52" fmla="*/ 10 w 59"/>
                      <a:gd name="T53" fmla="*/ 3 h 23"/>
                      <a:gd name="T54" fmla="*/ 8 w 59"/>
                      <a:gd name="T55" fmla="*/ 6 h 23"/>
                      <a:gd name="T56" fmla="*/ 4 w 59"/>
                      <a:gd name="T57" fmla="*/ 6 h 23"/>
                      <a:gd name="T58" fmla="*/ 0 w 59"/>
                      <a:gd name="T59" fmla="*/ 9 h 23"/>
                      <a:gd name="T60" fmla="*/ 2 w 59"/>
                      <a:gd name="T61" fmla="*/ 12 h 23"/>
                      <a:gd name="T62" fmla="*/ 4 w 59"/>
                      <a:gd name="T63" fmla="*/ 17 h 23"/>
                      <a:gd name="T64" fmla="*/ 6 w 59"/>
                      <a:gd name="T65" fmla="*/ 20 h 23"/>
                      <a:gd name="T66" fmla="*/ 15 w 59"/>
                      <a:gd name="T67" fmla="*/ 21 h 23"/>
                      <a:gd name="T68" fmla="*/ 16 w 59"/>
                      <a:gd name="T69" fmla="*/ 21 h 23"/>
                      <a:gd name="T70" fmla="*/ 23 w 59"/>
                      <a:gd name="T71" fmla="*/ 23 h 23"/>
                      <a:gd name="T72" fmla="*/ 27 w 59"/>
                      <a:gd name="T73" fmla="*/ 21 h 23"/>
                      <a:gd name="T74" fmla="*/ 31 w 59"/>
                      <a:gd name="T75" fmla="*/ 23 h 23"/>
                      <a:gd name="T76" fmla="*/ 31 w 59"/>
                      <a:gd name="T77" fmla="*/ 23 h 23"/>
                      <a:gd name="T78" fmla="*/ 31 w 59"/>
                      <a:gd name="T79" fmla="*/ 23 h 23"/>
                      <a:gd name="T80" fmla="*/ 34 w 59"/>
                      <a:gd name="T81" fmla="*/ 20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59" h="23">
                        <a:moveTo>
                          <a:pt x="34" y="20"/>
                        </a:moveTo>
                        <a:cubicBezTo>
                          <a:pt x="36" y="21"/>
                          <a:pt x="36" y="21"/>
                          <a:pt x="36" y="21"/>
                        </a:cubicBezTo>
                        <a:cubicBezTo>
                          <a:pt x="47" y="20"/>
                          <a:pt x="47" y="20"/>
                          <a:pt x="47" y="20"/>
                        </a:cubicBezTo>
                        <a:cubicBezTo>
                          <a:pt x="52" y="19"/>
                          <a:pt x="52" y="19"/>
                          <a:pt x="52" y="19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9" y="19"/>
                          <a:pt x="59" y="19"/>
                          <a:pt x="59" y="19"/>
                        </a:cubicBezTo>
                        <a:cubicBezTo>
                          <a:pt x="59" y="19"/>
                          <a:pt x="58" y="16"/>
                          <a:pt x="58" y="16"/>
                        </a:cubicBezTo>
                        <a:cubicBezTo>
                          <a:pt x="58" y="15"/>
                          <a:pt x="58" y="9"/>
                          <a:pt x="58" y="9"/>
                        </a:cubicBezTo>
                        <a:cubicBezTo>
                          <a:pt x="59" y="8"/>
                          <a:pt x="59" y="8"/>
                          <a:pt x="59" y="8"/>
                        </a:cubicBezTo>
                        <a:cubicBezTo>
                          <a:pt x="55" y="3"/>
                          <a:pt x="55" y="3"/>
                          <a:pt x="55" y="3"/>
                        </a:cubicBezTo>
                        <a:cubicBezTo>
                          <a:pt x="53" y="1"/>
                          <a:pt x="53" y="1"/>
                          <a:pt x="53" y="1"/>
                        </a:cubicBezTo>
                        <a:cubicBezTo>
                          <a:pt x="50" y="1"/>
                          <a:pt x="50" y="1"/>
                          <a:pt x="50" y="1"/>
                        </a:cubicBezTo>
                        <a:cubicBezTo>
                          <a:pt x="49" y="0"/>
                          <a:pt x="49" y="0"/>
                          <a:pt x="49" y="0"/>
                        </a:cubicBezTo>
                        <a:cubicBezTo>
                          <a:pt x="49" y="0"/>
                          <a:pt x="49" y="0"/>
                          <a:pt x="49" y="0"/>
                        </a:cubicBezTo>
                        <a:cubicBezTo>
                          <a:pt x="45" y="3"/>
                          <a:pt x="45" y="3"/>
                          <a:pt x="45" y="3"/>
                        </a:cubicBezTo>
                        <a:cubicBezTo>
                          <a:pt x="40" y="3"/>
                          <a:pt x="40" y="3"/>
                          <a:pt x="40" y="3"/>
                        </a:cubicBezTo>
                        <a:cubicBezTo>
                          <a:pt x="39" y="3"/>
                          <a:pt x="39" y="3"/>
                          <a:pt x="39" y="3"/>
                        </a:cubicBezTo>
                        <a:cubicBezTo>
                          <a:pt x="39" y="3"/>
                          <a:pt x="39" y="3"/>
                          <a:pt x="39" y="3"/>
                        </a:cubicBez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32" y="0"/>
                          <a:pt x="32" y="0"/>
                          <a:pt x="32" y="0"/>
                        </a:cubicBezTo>
                        <a:cubicBezTo>
                          <a:pt x="24" y="0"/>
                          <a:pt x="24" y="0"/>
                          <a:pt x="24" y="0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7" y="3"/>
                          <a:pt x="17" y="3"/>
                          <a:pt x="17" y="3"/>
                        </a:cubicBezTo>
                        <a:cubicBezTo>
                          <a:pt x="12" y="4"/>
                          <a:pt x="12" y="4"/>
                          <a:pt x="12" y="4"/>
                        </a:cubicBezTo>
                        <a:cubicBezTo>
                          <a:pt x="11" y="3"/>
                          <a:pt x="11" y="3"/>
                          <a:pt x="11" y="3"/>
                        </a:cubicBezTo>
                        <a:cubicBezTo>
                          <a:pt x="10" y="3"/>
                          <a:pt x="10" y="3"/>
                          <a:pt x="10" y="3"/>
                        </a:cubicBezTo>
                        <a:cubicBezTo>
                          <a:pt x="8" y="6"/>
                          <a:pt x="8" y="6"/>
                          <a:pt x="8" y="6"/>
                        </a:cubicBezTo>
                        <a:cubicBezTo>
                          <a:pt x="4" y="6"/>
                          <a:pt x="4" y="6"/>
                          <a:pt x="4" y="6"/>
                        </a:cubicBezTo>
                        <a:cubicBezTo>
                          <a:pt x="0" y="9"/>
                          <a:pt x="0" y="9"/>
                          <a:pt x="0" y="9"/>
                        </a:cubicBezTo>
                        <a:cubicBezTo>
                          <a:pt x="2" y="12"/>
                          <a:pt x="2" y="12"/>
                          <a:pt x="2" y="12"/>
                        </a:cubicBezTo>
                        <a:cubicBezTo>
                          <a:pt x="4" y="17"/>
                          <a:pt x="4" y="17"/>
                          <a:pt x="4" y="17"/>
                        </a:cubicBezTo>
                        <a:cubicBezTo>
                          <a:pt x="6" y="20"/>
                          <a:pt x="6" y="20"/>
                          <a:pt x="6" y="20"/>
                        </a:cubicBezTo>
                        <a:cubicBezTo>
                          <a:pt x="15" y="21"/>
                          <a:pt x="15" y="21"/>
                          <a:pt x="15" y="21"/>
                        </a:cubicBezTo>
                        <a:cubicBezTo>
                          <a:pt x="16" y="21"/>
                          <a:pt x="16" y="21"/>
                          <a:pt x="16" y="21"/>
                        </a:cubicBezTo>
                        <a:cubicBezTo>
                          <a:pt x="23" y="23"/>
                          <a:pt x="23" y="23"/>
                          <a:pt x="23" y="23"/>
                        </a:cubicBezTo>
                        <a:cubicBezTo>
                          <a:pt x="27" y="21"/>
                          <a:pt x="27" y="21"/>
                          <a:pt x="27" y="21"/>
                        </a:cubicBezTo>
                        <a:cubicBezTo>
                          <a:pt x="31" y="23"/>
                          <a:pt x="31" y="23"/>
                          <a:pt x="31" y="23"/>
                        </a:cubicBezTo>
                        <a:cubicBezTo>
                          <a:pt x="31" y="23"/>
                          <a:pt x="31" y="23"/>
                          <a:pt x="31" y="23"/>
                        </a:cubicBezTo>
                        <a:cubicBezTo>
                          <a:pt x="31" y="23"/>
                          <a:pt x="31" y="23"/>
                          <a:pt x="31" y="23"/>
                        </a:cubicBezTo>
                        <a:lnTo>
                          <a:pt x="34" y="20"/>
                        </a:lnTo>
                        <a:close/>
                      </a:path>
                    </a:pathLst>
                  </a:cu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/>
                  <a:lstStyle>
                    <a:defPPr>
                      <a:defRPr lang="en-GB"/>
                    </a:defPPr>
                    <a:lvl1pPr algn="l" defTabSz="449263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SzPct val="100000"/>
                      <a:buFont typeface="Times New Roman" panose="02020603050405020304" pitchFamily="18" charset="0"/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742950" indent="-285750" algn="l" defTabSz="449263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SzPct val="100000"/>
                      <a:buFont typeface="Times New Roman" panose="02020603050405020304" pitchFamily="18" charset="0"/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43000" indent="-228600" algn="l" defTabSz="449263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SzPct val="100000"/>
                      <a:buFont typeface="Times New Roman" panose="02020603050405020304" pitchFamily="18" charset="0"/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00200" indent="-228600" algn="l" defTabSz="449263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SzPct val="100000"/>
                      <a:buFont typeface="Times New Roman" panose="02020603050405020304" pitchFamily="18" charset="0"/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57400" indent="-228600" algn="l" defTabSz="449263" rtl="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SzPct val="100000"/>
                      <a:buFont typeface="Times New Roman" panose="02020603050405020304" pitchFamily="18" charset="0"/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449263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SzPct val="100000"/>
                      <a:buFont typeface="Times New Roman" pitchFamily="16" charset="0"/>
                      <a:buNone/>
                      <a:tabLst/>
                      <a:defRPr/>
                    </a:pPr>
                    <a:endParaRPr kumimoji="0" lang="en-GB" sz="81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ＭＳ Ｐゴシック" charset="-128"/>
                      <a:cs typeface="+mn-cs"/>
                    </a:endParaRPr>
                  </a:p>
                </p:txBody>
              </p:sp>
            </p:grpSp>
            <p:sp>
              <p:nvSpPr>
                <p:cNvPr id="129" name="Freeform 77">
                  <a:extLst>
                    <a:ext uri="{FF2B5EF4-FFF2-40B4-BE49-F238E27FC236}">
                      <a16:creationId xmlns:a16="http://schemas.microsoft.com/office/drawing/2014/main" id="{E88997CD-0268-E27A-DCE4-4F9098B321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5342" y="4562319"/>
                  <a:ext cx="412078" cy="697363"/>
                </a:xfrm>
                <a:custGeom>
                  <a:avLst/>
                  <a:gdLst>
                    <a:gd name="T0" fmla="*/ 219 w 364"/>
                    <a:gd name="T1" fmla="*/ 40 h 616"/>
                    <a:gd name="T2" fmla="*/ 151 w 364"/>
                    <a:gd name="T3" fmla="*/ 0 h 616"/>
                    <a:gd name="T4" fmla="*/ 75 w 364"/>
                    <a:gd name="T5" fmla="*/ 0 h 616"/>
                    <a:gd name="T6" fmla="*/ 16 w 364"/>
                    <a:gd name="T7" fmla="*/ 24 h 616"/>
                    <a:gd name="T8" fmla="*/ 8 w 364"/>
                    <a:gd name="T9" fmla="*/ 64 h 616"/>
                    <a:gd name="T10" fmla="*/ 16 w 364"/>
                    <a:gd name="T11" fmla="*/ 136 h 616"/>
                    <a:gd name="T12" fmla="*/ 0 w 364"/>
                    <a:gd name="T13" fmla="*/ 192 h 616"/>
                    <a:gd name="T14" fmla="*/ 67 w 364"/>
                    <a:gd name="T15" fmla="*/ 184 h 616"/>
                    <a:gd name="T16" fmla="*/ 33 w 364"/>
                    <a:gd name="T17" fmla="*/ 256 h 616"/>
                    <a:gd name="T18" fmla="*/ 118 w 364"/>
                    <a:gd name="T19" fmla="*/ 312 h 616"/>
                    <a:gd name="T20" fmla="*/ 160 w 364"/>
                    <a:gd name="T21" fmla="*/ 384 h 616"/>
                    <a:gd name="T22" fmla="*/ 168 w 364"/>
                    <a:gd name="T23" fmla="*/ 432 h 616"/>
                    <a:gd name="T24" fmla="*/ 101 w 364"/>
                    <a:gd name="T25" fmla="*/ 440 h 616"/>
                    <a:gd name="T26" fmla="*/ 126 w 364"/>
                    <a:gd name="T27" fmla="*/ 496 h 616"/>
                    <a:gd name="T28" fmla="*/ 168 w 364"/>
                    <a:gd name="T29" fmla="*/ 480 h 616"/>
                    <a:gd name="T30" fmla="*/ 219 w 364"/>
                    <a:gd name="T31" fmla="*/ 504 h 616"/>
                    <a:gd name="T32" fmla="*/ 235 w 364"/>
                    <a:gd name="T33" fmla="*/ 560 h 616"/>
                    <a:gd name="T34" fmla="*/ 244 w 364"/>
                    <a:gd name="T35" fmla="*/ 592 h 616"/>
                    <a:gd name="T36" fmla="*/ 261 w 364"/>
                    <a:gd name="T37" fmla="*/ 600 h 616"/>
                    <a:gd name="T38" fmla="*/ 337 w 364"/>
                    <a:gd name="T39" fmla="*/ 616 h 616"/>
                    <a:gd name="T40" fmla="*/ 360 w 364"/>
                    <a:gd name="T41" fmla="*/ 578 h 616"/>
                    <a:gd name="T42" fmla="*/ 303 w 364"/>
                    <a:gd name="T43" fmla="*/ 56 h 616"/>
                    <a:gd name="T44" fmla="*/ 320 w 364"/>
                    <a:gd name="T45" fmla="*/ 152 h 616"/>
                    <a:gd name="T46" fmla="*/ 244 w 364"/>
                    <a:gd name="T47" fmla="*/ 168 h 616"/>
                    <a:gd name="T48" fmla="*/ 151 w 364"/>
                    <a:gd name="T49" fmla="*/ 200 h 616"/>
                    <a:gd name="T50" fmla="*/ 92 w 364"/>
                    <a:gd name="T51" fmla="*/ 208 h 616"/>
                    <a:gd name="T52" fmla="*/ 42 w 364"/>
                    <a:gd name="T53" fmla="*/ 264 h 616"/>
                    <a:gd name="T54" fmla="*/ 59 w 364"/>
                    <a:gd name="T55" fmla="*/ 232 h 616"/>
                    <a:gd name="T56" fmla="*/ 126 w 364"/>
                    <a:gd name="T57" fmla="*/ 168 h 616"/>
                    <a:gd name="T58" fmla="*/ 185 w 364"/>
                    <a:gd name="T59" fmla="*/ 104 h 616"/>
                    <a:gd name="T60" fmla="*/ 286 w 364"/>
                    <a:gd name="T61" fmla="*/ 80 h 616"/>
                    <a:gd name="T62" fmla="*/ 303 w 364"/>
                    <a:gd name="T63" fmla="*/ 96 h 616"/>
                    <a:gd name="T64" fmla="*/ 328 w 364"/>
                    <a:gd name="T65" fmla="*/ 112 h 616"/>
                    <a:gd name="T66" fmla="*/ 303 w 364"/>
                    <a:gd name="T67" fmla="*/ 56 h 61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64" h="616">
                      <a:moveTo>
                        <a:pt x="303" y="56"/>
                      </a:moveTo>
                      <a:lnTo>
                        <a:pt x="219" y="40"/>
                      </a:lnTo>
                      <a:lnTo>
                        <a:pt x="185" y="24"/>
                      </a:lnTo>
                      <a:lnTo>
                        <a:pt x="151" y="0"/>
                      </a:lnTo>
                      <a:lnTo>
                        <a:pt x="126" y="8"/>
                      </a:lnTo>
                      <a:lnTo>
                        <a:pt x="75" y="0"/>
                      </a:lnTo>
                      <a:lnTo>
                        <a:pt x="50" y="16"/>
                      </a:lnTo>
                      <a:lnTo>
                        <a:pt x="16" y="24"/>
                      </a:lnTo>
                      <a:lnTo>
                        <a:pt x="16" y="48"/>
                      </a:lnTo>
                      <a:lnTo>
                        <a:pt x="8" y="64"/>
                      </a:lnTo>
                      <a:lnTo>
                        <a:pt x="33" y="88"/>
                      </a:lnTo>
                      <a:lnTo>
                        <a:pt x="16" y="136"/>
                      </a:lnTo>
                      <a:lnTo>
                        <a:pt x="25" y="160"/>
                      </a:lnTo>
                      <a:lnTo>
                        <a:pt x="0" y="192"/>
                      </a:lnTo>
                      <a:lnTo>
                        <a:pt x="0" y="200"/>
                      </a:lnTo>
                      <a:lnTo>
                        <a:pt x="67" y="184"/>
                      </a:lnTo>
                      <a:lnTo>
                        <a:pt x="42" y="216"/>
                      </a:lnTo>
                      <a:lnTo>
                        <a:pt x="33" y="256"/>
                      </a:lnTo>
                      <a:lnTo>
                        <a:pt x="50" y="328"/>
                      </a:lnTo>
                      <a:lnTo>
                        <a:pt x="118" y="312"/>
                      </a:lnTo>
                      <a:lnTo>
                        <a:pt x="118" y="352"/>
                      </a:lnTo>
                      <a:lnTo>
                        <a:pt x="160" y="384"/>
                      </a:lnTo>
                      <a:lnTo>
                        <a:pt x="151" y="408"/>
                      </a:lnTo>
                      <a:lnTo>
                        <a:pt x="168" y="432"/>
                      </a:lnTo>
                      <a:lnTo>
                        <a:pt x="134" y="448"/>
                      </a:lnTo>
                      <a:lnTo>
                        <a:pt x="101" y="440"/>
                      </a:lnTo>
                      <a:lnTo>
                        <a:pt x="101" y="472"/>
                      </a:lnTo>
                      <a:lnTo>
                        <a:pt x="126" y="496"/>
                      </a:lnTo>
                      <a:lnTo>
                        <a:pt x="151" y="480"/>
                      </a:lnTo>
                      <a:lnTo>
                        <a:pt x="168" y="480"/>
                      </a:lnTo>
                      <a:lnTo>
                        <a:pt x="185" y="488"/>
                      </a:lnTo>
                      <a:lnTo>
                        <a:pt x="219" y="504"/>
                      </a:lnTo>
                      <a:lnTo>
                        <a:pt x="227" y="528"/>
                      </a:lnTo>
                      <a:lnTo>
                        <a:pt x="235" y="560"/>
                      </a:lnTo>
                      <a:lnTo>
                        <a:pt x="269" y="576"/>
                      </a:lnTo>
                      <a:lnTo>
                        <a:pt x="244" y="592"/>
                      </a:lnTo>
                      <a:lnTo>
                        <a:pt x="244" y="600"/>
                      </a:lnTo>
                      <a:lnTo>
                        <a:pt x="261" y="600"/>
                      </a:lnTo>
                      <a:lnTo>
                        <a:pt x="345" y="584"/>
                      </a:lnTo>
                      <a:lnTo>
                        <a:pt x="337" y="616"/>
                      </a:lnTo>
                      <a:lnTo>
                        <a:pt x="364" y="602"/>
                      </a:lnTo>
                      <a:lnTo>
                        <a:pt x="360" y="578"/>
                      </a:lnTo>
                      <a:lnTo>
                        <a:pt x="354" y="56"/>
                      </a:lnTo>
                      <a:lnTo>
                        <a:pt x="303" y="56"/>
                      </a:lnTo>
                      <a:lnTo>
                        <a:pt x="286" y="136"/>
                      </a:lnTo>
                      <a:lnTo>
                        <a:pt x="320" y="152"/>
                      </a:lnTo>
                      <a:lnTo>
                        <a:pt x="286" y="168"/>
                      </a:lnTo>
                      <a:lnTo>
                        <a:pt x="244" y="168"/>
                      </a:lnTo>
                      <a:lnTo>
                        <a:pt x="176" y="200"/>
                      </a:lnTo>
                      <a:lnTo>
                        <a:pt x="151" y="200"/>
                      </a:lnTo>
                      <a:lnTo>
                        <a:pt x="134" y="200"/>
                      </a:lnTo>
                      <a:lnTo>
                        <a:pt x="92" y="208"/>
                      </a:lnTo>
                      <a:lnTo>
                        <a:pt x="67" y="232"/>
                      </a:lnTo>
                      <a:lnTo>
                        <a:pt x="42" y="264"/>
                      </a:lnTo>
                      <a:lnTo>
                        <a:pt x="42" y="248"/>
                      </a:lnTo>
                      <a:lnTo>
                        <a:pt x="59" y="232"/>
                      </a:lnTo>
                      <a:lnTo>
                        <a:pt x="84" y="200"/>
                      </a:lnTo>
                      <a:lnTo>
                        <a:pt x="126" y="168"/>
                      </a:lnTo>
                      <a:lnTo>
                        <a:pt x="134" y="120"/>
                      </a:lnTo>
                      <a:lnTo>
                        <a:pt x="185" y="104"/>
                      </a:lnTo>
                      <a:lnTo>
                        <a:pt x="235" y="96"/>
                      </a:lnTo>
                      <a:lnTo>
                        <a:pt x="286" y="80"/>
                      </a:lnTo>
                      <a:lnTo>
                        <a:pt x="294" y="80"/>
                      </a:lnTo>
                      <a:lnTo>
                        <a:pt x="303" y="96"/>
                      </a:lnTo>
                      <a:lnTo>
                        <a:pt x="345" y="104"/>
                      </a:lnTo>
                      <a:lnTo>
                        <a:pt x="328" y="112"/>
                      </a:lnTo>
                      <a:lnTo>
                        <a:pt x="286" y="136"/>
                      </a:lnTo>
                      <a:lnTo>
                        <a:pt x="303" y="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1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4" name="Freeform 79">
                <a:extLst>
                  <a:ext uri="{FF2B5EF4-FFF2-40B4-BE49-F238E27FC236}">
                    <a16:creationId xmlns:a16="http://schemas.microsoft.com/office/drawing/2014/main" id="{24DFD224-332C-DC97-8CA6-44CD68217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9335" y="5615704"/>
                <a:ext cx="429988" cy="256876"/>
              </a:xfrm>
              <a:custGeom>
                <a:avLst/>
                <a:gdLst>
                  <a:gd name="T0" fmla="*/ 244 w 308"/>
                  <a:gd name="T1" fmla="*/ 56 h 184"/>
                  <a:gd name="T2" fmla="*/ 278 w 308"/>
                  <a:gd name="T3" fmla="*/ 72 h 184"/>
                  <a:gd name="T4" fmla="*/ 244 w 308"/>
                  <a:gd name="T5" fmla="*/ 88 h 184"/>
                  <a:gd name="T6" fmla="*/ 202 w 308"/>
                  <a:gd name="T7" fmla="*/ 88 h 184"/>
                  <a:gd name="T8" fmla="*/ 134 w 308"/>
                  <a:gd name="T9" fmla="*/ 120 h 184"/>
                  <a:gd name="T10" fmla="*/ 109 w 308"/>
                  <a:gd name="T11" fmla="*/ 120 h 184"/>
                  <a:gd name="T12" fmla="*/ 92 w 308"/>
                  <a:gd name="T13" fmla="*/ 120 h 184"/>
                  <a:gd name="T14" fmla="*/ 50 w 308"/>
                  <a:gd name="T15" fmla="*/ 128 h 184"/>
                  <a:gd name="T16" fmla="*/ 25 w 308"/>
                  <a:gd name="T17" fmla="*/ 152 h 184"/>
                  <a:gd name="T18" fmla="*/ 0 w 308"/>
                  <a:gd name="T19" fmla="*/ 184 h 184"/>
                  <a:gd name="T20" fmla="*/ 0 w 308"/>
                  <a:gd name="T21" fmla="*/ 168 h 184"/>
                  <a:gd name="T22" fmla="*/ 17 w 308"/>
                  <a:gd name="T23" fmla="*/ 152 h 184"/>
                  <a:gd name="T24" fmla="*/ 42 w 308"/>
                  <a:gd name="T25" fmla="*/ 120 h 184"/>
                  <a:gd name="T26" fmla="*/ 84 w 308"/>
                  <a:gd name="T27" fmla="*/ 88 h 184"/>
                  <a:gd name="T28" fmla="*/ 92 w 308"/>
                  <a:gd name="T29" fmla="*/ 40 h 184"/>
                  <a:gd name="T30" fmla="*/ 143 w 308"/>
                  <a:gd name="T31" fmla="*/ 24 h 184"/>
                  <a:gd name="T32" fmla="*/ 193 w 308"/>
                  <a:gd name="T33" fmla="*/ 16 h 184"/>
                  <a:gd name="T34" fmla="*/ 244 w 308"/>
                  <a:gd name="T35" fmla="*/ 0 h 184"/>
                  <a:gd name="T36" fmla="*/ 252 w 308"/>
                  <a:gd name="T37" fmla="*/ 0 h 184"/>
                  <a:gd name="T38" fmla="*/ 261 w 308"/>
                  <a:gd name="T39" fmla="*/ 16 h 184"/>
                  <a:gd name="T40" fmla="*/ 303 w 308"/>
                  <a:gd name="T41" fmla="*/ 24 h 184"/>
                  <a:gd name="T42" fmla="*/ 308 w 308"/>
                  <a:gd name="T43" fmla="*/ 24 h 184"/>
                  <a:gd name="T44" fmla="*/ 286 w 308"/>
                  <a:gd name="T45" fmla="*/ 32 h 184"/>
                  <a:gd name="T46" fmla="*/ 244 w 308"/>
                  <a:gd name="T47" fmla="*/ 56 h 184"/>
                  <a:gd name="T48" fmla="*/ 244 w 308"/>
                  <a:gd name="T49" fmla="*/ 56 h 18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08" h="184">
                    <a:moveTo>
                      <a:pt x="244" y="56"/>
                    </a:moveTo>
                    <a:lnTo>
                      <a:pt x="278" y="72"/>
                    </a:lnTo>
                    <a:lnTo>
                      <a:pt x="244" y="88"/>
                    </a:lnTo>
                    <a:lnTo>
                      <a:pt x="202" y="88"/>
                    </a:lnTo>
                    <a:lnTo>
                      <a:pt x="134" y="120"/>
                    </a:lnTo>
                    <a:lnTo>
                      <a:pt x="109" y="120"/>
                    </a:lnTo>
                    <a:lnTo>
                      <a:pt x="92" y="120"/>
                    </a:lnTo>
                    <a:lnTo>
                      <a:pt x="50" y="128"/>
                    </a:lnTo>
                    <a:lnTo>
                      <a:pt x="25" y="152"/>
                    </a:lnTo>
                    <a:lnTo>
                      <a:pt x="0" y="184"/>
                    </a:lnTo>
                    <a:lnTo>
                      <a:pt x="0" y="168"/>
                    </a:lnTo>
                    <a:lnTo>
                      <a:pt x="17" y="152"/>
                    </a:lnTo>
                    <a:lnTo>
                      <a:pt x="42" y="120"/>
                    </a:lnTo>
                    <a:lnTo>
                      <a:pt x="84" y="88"/>
                    </a:lnTo>
                    <a:lnTo>
                      <a:pt x="92" y="40"/>
                    </a:lnTo>
                    <a:lnTo>
                      <a:pt x="143" y="24"/>
                    </a:lnTo>
                    <a:lnTo>
                      <a:pt x="193" y="16"/>
                    </a:lnTo>
                    <a:lnTo>
                      <a:pt x="244" y="0"/>
                    </a:lnTo>
                    <a:lnTo>
                      <a:pt x="252" y="0"/>
                    </a:lnTo>
                    <a:lnTo>
                      <a:pt x="261" y="16"/>
                    </a:lnTo>
                    <a:lnTo>
                      <a:pt x="303" y="24"/>
                    </a:lnTo>
                    <a:lnTo>
                      <a:pt x="308" y="24"/>
                    </a:lnTo>
                    <a:lnTo>
                      <a:pt x="286" y="32"/>
                    </a:lnTo>
                    <a:lnTo>
                      <a:pt x="244" y="56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 80">
                <a:extLst>
                  <a:ext uri="{FF2B5EF4-FFF2-40B4-BE49-F238E27FC236}">
                    <a16:creationId xmlns:a16="http://schemas.microsoft.com/office/drawing/2014/main" id="{336FA142-FCD1-18CC-79B3-01F8209E2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7189" y="4510021"/>
                <a:ext cx="1246685" cy="826471"/>
              </a:xfrm>
              <a:custGeom>
                <a:avLst/>
                <a:gdLst>
                  <a:gd name="T0" fmla="*/ 784 w 893"/>
                  <a:gd name="T1" fmla="*/ 312 h 592"/>
                  <a:gd name="T2" fmla="*/ 725 w 893"/>
                  <a:gd name="T3" fmla="*/ 280 h 592"/>
                  <a:gd name="T4" fmla="*/ 708 w 893"/>
                  <a:gd name="T5" fmla="*/ 208 h 592"/>
                  <a:gd name="T6" fmla="*/ 708 w 893"/>
                  <a:gd name="T7" fmla="*/ 168 h 592"/>
                  <a:gd name="T8" fmla="*/ 666 w 893"/>
                  <a:gd name="T9" fmla="*/ 120 h 592"/>
                  <a:gd name="T10" fmla="*/ 632 w 893"/>
                  <a:gd name="T11" fmla="*/ 96 h 592"/>
                  <a:gd name="T12" fmla="*/ 581 w 893"/>
                  <a:gd name="T13" fmla="*/ 56 h 592"/>
                  <a:gd name="T14" fmla="*/ 548 w 893"/>
                  <a:gd name="T15" fmla="*/ 16 h 592"/>
                  <a:gd name="T16" fmla="*/ 506 w 893"/>
                  <a:gd name="T17" fmla="*/ 0 h 592"/>
                  <a:gd name="T18" fmla="*/ 472 w 893"/>
                  <a:gd name="T19" fmla="*/ 48 h 592"/>
                  <a:gd name="T20" fmla="*/ 396 w 893"/>
                  <a:gd name="T21" fmla="*/ 72 h 592"/>
                  <a:gd name="T22" fmla="*/ 371 w 893"/>
                  <a:gd name="T23" fmla="*/ 96 h 592"/>
                  <a:gd name="T24" fmla="*/ 337 w 893"/>
                  <a:gd name="T25" fmla="*/ 80 h 592"/>
                  <a:gd name="T26" fmla="*/ 287 w 893"/>
                  <a:gd name="T27" fmla="*/ 88 h 592"/>
                  <a:gd name="T28" fmla="*/ 253 w 893"/>
                  <a:gd name="T29" fmla="*/ 88 h 592"/>
                  <a:gd name="T30" fmla="*/ 219 w 893"/>
                  <a:gd name="T31" fmla="*/ 80 h 592"/>
                  <a:gd name="T32" fmla="*/ 185 w 893"/>
                  <a:gd name="T33" fmla="*/ 104 h 592"/>
                  <a:gd name="T34" fmla="*/ 160 w 893"/>
                  <a:gd name="T35" fmla="*/ 128 h 592"/>
                  <a:gd name="T36" fmla="*/ 135 w 893"/>
                  <a:gd name="T37" fmla="*/ 168 h 592"/>
                  <a:gd name="T38" fmla="*/ 110 w 893"/>
                  <a:gd name="T39" fmla="*/ 224 h 592"/>
                  <a:gd name="T40" fmla="*/ 84 w 893"/>
                  <a:gd name="T41" fmla="*/ 256 h 592"/>
                  <a:gd name="T42" fmla="*/ 76 w 893"/>
                  <a:gd name="T43" fmla="*/ 280 h 592"/>
                  <a:gd name="T44" fmla="*/ 67 w 893"/>
                  <a:gd name="T45" fmla="*/ 320 h 592"/>
                  <a:gd name="T46" fmla="*/ 51 w 893"/>
                  <a:gd name="T47" fmla="*/ 328 h 592"/>
                  <a:gd name="T48" fmla="*/ 25 w 893"/>
                  <a:gd name="T49" fmla="*/ 344 h 592"/>
                  <a:gd name="T50" fmla="*/ 0 w 893"/>
                  <a:gd name="T51" fmla="*/ 352 h 592"/>
                  <a:gd name="T52" fmla="*/ 17 w 893"/>
                  <a:gd name="T53" fmla="*/ 368 h 592"/>
                  <a:gd name="T54" fmla="*/ 51 w 893"/>
                  <a:gd name="T55" fmla="*/ 392 h 592"/>
                  <a:gd name="T56" fmla="*/ 59 w 893"/>
                  <a:gd name="T57" fmla="*/ 416 h 592"/>
                  <a:gd name="T58" fmla="*/ 93 w 893"/>
                  <a:gd name="T59" fmla="*/ 440 h 592"/>
                  <a:gd name="T60" fmla="*/ 135 w 893"/>
                  <a:gd name="T61" fmla="*/ 456 h 592"/>
                  <a:gd name="T62" fmla="*/ 118 w 893"/>
                  <a:gd name="T63" fmla="*/ 488 h 592"/>
                  <a:gd name="T64" fmla="*/ 160 w 893"/>
                  <a:gd name="T65" fmla="*/ 496 h 592"/>
                  <a:gd name="T66" fmla="*/ 202 w 893"/>
                  <a:gd name="T67" fmla="*/ 512 h 592"/>
                  <a:gd name="T68" fmla="*/ 244 w 893"/>
                  <a:gd name="T69" fmla="*/ 488 h 592"/>
                  <a:gd name="T70" fmla="*/ 244 w 893"/>
                  <a:gd name="T71" fmla="*/ 528 h 592"/>
                  <a:gd name="T72" fmla="*/ 261 w 893"/>
                  <a:gd name="T73" fmla="*/ 536 h 592"/>
                  <a:gd name="T74" fmla="*/ 253 w 893"/>
                  <a:gd name="T75" fmla="*/ 544 h 592"/>
                  <a:gd name="T76" fmla="*/ 287 w 893"/>
                  <a:gd name="T77" fmla="*/ 560 h 592"/>
                  <a:gd name="T78" fmla="*/ 287 w 893"/>
                  <a:gd name="T79" fmla="*/ 584 h 592"/>
                  <a:gd name="T80" fmla="*/ 320 w 893"/>
                  <a:gd name="T81" fmla="*/ 592 h 592"/>
                  <a:gd name="T82" fmla="*/ 413 w 893"/>
                  <a:gd name="T83" fmla="*/ 592 h 592"/>
                  <a:gd name="T84" fmla="*/ 438 w 893"/>
                  <a:gd name="T85" fmla="*/ 568 h 592"/>
                  <a:gd name="T86" fmla="*/ 463 w 893"/>
                  <a:gd name="T87" fmla="*/ 568 h 592"/>
                  <a:gd name="T88" fmla="*/ 514 w 893"/>
                  <a:gd name="T89" fmla="*/ 568 h 592"/>
                  <a:gd name="T90" fmla="*/ 565 w 893"/>
                  <a:gd name="T91" fmla="*/ 560 h 592"/>
                  <a:gd name="T92" fmla="*/ 607 w 893"/>
                  <a:gd name="T93" fmla="*/ 504 h 592"/>
                  <a:gd name="T94" fmla="*/ 657 w 893"/>
                  <a:gd name="T95" fmla="*/ 488 h 592"/>
                  <a:gd name="T96" fmla="*/ 699 w 893"/>
                  <a:gd name="T97" fmla="*/ 480 h 592"/>
                  <a:gd name="T98" fmla="*/ 725 w 893"/>
                  <a:gd name="T99" fmla="*/ 488 h 592"/>
                  <a:gd name="T100" fmla="*/ 767 w 893"/>
                  <a:gd name="T101" fmla="*/ 480 h 592"/>
                  <a:gd name="T102" fmla="*/ 775 w 893"/>
                  <a:gd name="T103" fmla="*/ 496 h 592"/>
                  <a:gd name="T104" fmla="*/ 826 w 893"/>
                  <a:gd name="T105" fmla="*/ 496 h 592"/>
                  <a:gd name="T106" fmla="*/ 834 w 893"/>
                  <a:gd name="T107" fmla="*/ 416 h 592"/>
                  <a:gd name="T108" fmla="*/ 851 w 893"/>
                  <a:gd name="T109" fmla="*/ 376 h 592"/>
                  <a:gd name="T110" fmla="*/ 885 w 893"/>
                  <a:gd name="T111" fmla="*/ 336 h 592"/>
                  <a:gd name="T112" fmla="*/ 893 w 893"/>
                  <a:gd name="T113" fmla="*/ 312 h 592"/>
                  <a:gd name="T114" fmla="*/ 876 w 893"/>
                  <a:gd name="T115" fmla="*/ 288 h 592"/>
                  <a:gd name="T116" fmla="*/ 834 w 893"/>
                  <a:gd name="T117" fmla="*/ 288 h 592"/>
                  <a:gd name="T118" fmla="*/ 784 w 893"/>
                  <a:gd name="T119" fmla="*/ 312 h 59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93" h="592">
                    <a:moveTo>
                      <a:pt x="784" y="312"/>
                    </a:moveTo>
                    <a:lnTo>
                      <a:pt x="725" y="280"/>
                    </a:lnTo>
                    <a:lnTo>
                      <a:pt x="708" y="208"/>
                    </a:lnTo>
                    <a:lnTo>
                      <a:pt x="708" y="168"/>
                    </a:lnTo>
                    <a:lnTo>
                      <a:pt x="666" y="120"/>
                    </a:lnTo>
                    <a:lnTo>
                      <a:pt x="632" y="96"/>
                    </a:lnTo>
                    <a:lnTo>
                      <a:pt x="581" y="56"/>
                    </a:lnTo>
                    <a:lnTo>
                      <a:pt x="548" y="16"/>
                    </a:lnTo>
                    <a:lnTo>
                      <a:pt x="506" y="0"/>
                    </a:lnTo>
                    <a:lnTo>
                      <a:pt x="472" y="48"/>
                    </a:lnTo>
                    <a:lnTo>
                      <a:pt x="396" y="72"/>
                    </a:lnTo>
                    <a:lnTo>
                      <a:pt x="371" y="96"/>
                    </a:lnTo>
                    <a:lnTo>
                      <a:pt x="337" y="80"/>
                    </a:lnTo>
                    <a:lnTo>
                      <a:pt x="287" y="88"/>
                    </a:lnTo>
                    <a:lnTo>
                      <a:pt x="253" y="88"/>
                    </a:lnTo>
                    <a:lnTo>
                      <a:pt x="219" y="80"/>
                    </a:lnTo>
                    <a:lnTo>
                      <a:pt x="185" y="104"/>
                    </a:lnTo>
                    <a:lnTo>
                      <a:pt x="160" y="128"/>
                    </a:lnTo>
                    <a:lnTo>
                      <a:pt x="135" y="168"/>
                    </a:lnTo>
                    <a:lnTo>
                      <a:pt x="110" y="224"/>
                    </a:lnTo>
                    <a:lnTo>
                      <a:pt x="84" y="256"/>
                    </a:lnTo>
                    <a:lnTo>
                      <a:pt x="76" y="280"/>
                    </a:lnTo>
                    <a:lnTo>
                      <a:pt x="67" y="320"/>
                    </a:lnTo>
                    <a:lnTo>
                      <a:pt x="51" y="328"/>
                    </a:lnTo>
                    <a:lnTo>
                      <a:pt x="25" y="344"/>
                    </a:lnTo>
                    <a:lnTo>
                      <a:pt x="0" y="352"/>
                    </a:lnTo>
                    <a:lnTo>
                      <a:pt x="17" y="368"/>
                    </a:lnTo>
                    <a:lnTo>
                      <a:pt x="51" y="392"/>
                    </a:lnTo>
                    <a:lnTo>
                      <a:pt x="59" y="416"/>
                    </a:lnTo>
                    <a:lnTo>
                      <a:pt x="93" y="440"/>
                    </a:lnTo>
                    <a:lnTo>
                      <a:pt x="135" y="456"/>
                    </a:lnTo>
                    <a:lnTo>
                      <a:pt x="118" y="488"/>
                    </a:lnTo>
                    <a:lnTo>
                      <a:pt x="160" y="496"/>
                    </a:lnTo>
                    <a:lnTo>
                      <a:pt x="202" y="512"/>
                    </a:lnTo>
                    <a:lnTo>
                      <a:pt x="244" y="488"/>
                    </a:lnTo>
                    <a:lnTo>
                      <a:pt x="244" y="528"/>
                    </a:lnTo>
                    <a:lnTo>
                      <a:pt x="261" y="536"/>
                    </a:lnTo>
                    <a:lnTo>
                      <a:pt x="253" y="544"/>
                    </a:lnTo>
                    <a:lnTo>
                      <a:pt x="287" y="560"/>
                    </a:lnTo>
                    <a:lnTo>
                      <a:pt x="287" y="584"/>
                    </a:lnTo>
                    <a:lnTo>
                      <a:pt x="320" y="592"/>
                    </a:lnTo>
                    <a:lnTo>
                      <a:pt x="413" y="592"/>
                    </a:lnTo>
                    <a:lnTo>
                      <a:pt x="438" y="568"/>
                    </a:lnTo>
                    <a:lnTo>
                      <a:pt x="463" y="568"/>
                    </a:lnTo>
                    <a:lnTo>
                      <a:pt x="514" y="568"/>
                    </a:lnTo>
                    <a:lnTo>
                      <a:pt x="565" y="560"/>
                    </a:lnTo>
                    <a:lnTo>
                      <a:pt x="607" y="504"/>
                    </a:lnTo>
                    <a:lnTo>
                      <a:pt x="657" y="488"/>
                    </a:lnTo>
                    <a:lnTo>
                      <a:pt x="699" y="480"/>
                    </a:lnTo>
                    <a:lnTo>
                      <a:pt x="725" y="488"/>
                    </a:lnTo>
                    <a:lnTo>
                      <a:pt x="767" y="480"/>
                    </a:lnTo>
                    <a:lnTo>
                      <a:pt x="775" y="496"/>
                    </a:lnTo>
                    <a:lnTo>
                      <a:pt x="826" y="496"/>
                    </a:lnTo>
                    <a:lnTo>
                      <a:pt x="834" y="416"/>
                    </a:lnTo>
                    <a:lnTo>
                      <a:pt x="851" y="376"/>
                    </a:lnTo>
                    <a:lnTo>
                      <a:pt x="885" y="336"/>
                    </a:lnTo>
                    <a:lnTo>
                      <a:pt x="893" y="312"/>
                    </a:lnTo>
                    <a:lnTo>
                      <a:pt x="876" y="288"/>
                    </a:lnTo>
                    <a:lnTo>
                      <a:pt x="834" y="288"/>
                    </a:lnTo>
                    <a:lnTo>
                      <a:pt x="784" y="31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 81">
                <a:extLst>
                  <a:ext uri="{FF2B5EF4-FFF2-40B4-BE49-F238E27FC236}">
                    <a16:creationId xmlns:a16="http://schemas.microsoft.com/office/drawing/2014/main" id="{CDB53C68-5916-E4A9-432C-29C339D26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4766" y="4454179"/>
                <a:ext cx="494207" cy="469078"/>
              </a:xfrm>
              <a:custGeom>
                <a:avLst/>
                <a:gdLst>
                  <a:gd name="T0" fmla="*/ 270 w 354"/>
                  <a:gd name="T1" fmla="*/ 248 h 336"/>
                  <a:gd name="T2" fmla="*/ 253 w 354"/>
                  <a:gd name="T3" fmla="*/ 224 h 336"/>
                  <a:gd name="T4" fmla="*/ 278 w 354"/>
                  <a:gd name="T5" fmla="*/ 200 h 336"/>
                  <a:gd name="T6" fmla="*/ 354 w 354"/>
                  <a:gd name="T7" fmla="*/ 184 h 336"/>
                  <a:gd name="T8" fmla="*/ 337 w 354"/>
                  <a:gd name="T9" fmla="*/ 152 h 336"/>
                  <a:gd name="T10" fmla="*/ 303 w 354"/>
                  <a:gd name="T11" fmla="*/ 120 h 336"/>
                  <a:gd name="T12" fmla="*/ 287 w 354"/>
                  <a:gd name="T13" fmla="*/ 88 h 336"/>
                  <a:gd name="T14" fmla="*/ 236 w 354"/>
                  <a:gd name="T15" fmla="*/ 72 h 336"/>
                  <a:gd name="T16" fmla="*/ 211 w 354"/>
                  <a:gd name="T17" fmla="*/ 24 h 336"/>
                  <a:gd name="T18" fmla="*/ 152 w 354"/>
                  <a:gd name="T19" fmla="*/ 24 h 336"/>
                  <a:gd name="T20" fmla="*/ 84 w 354"/>
                  <a:gd name="T21" fmla="*/ 0 h 336"/>
                  <a:gd name="T22" fmla="*/ 59 w 354"/>
                  <a:gd name="T23" fmla="*/ 24 h 336"/>
                  <a:gd name="T24" fmla="*/ 8 w 354"/>
                  <a:gd name="T25" fmla="*/ 32 h 336"/>
                  <a:gd name="T26" fmla="*/ 0 w 354"/>
                  <a:gd name="T27" fmla="*/ 40 h 336"/>
                  <a:gd name="T28" fmla="*/ 34 w 354"/>
                  <a:gd name="T29" fmla="*/ 56 h 336"/>
                  <a:gd name="T30" fmla="*/ 67 w 354"/>
                  <a:gd name="T31" fmla="*/ 96 h 336"/>
                  <a:gd name="T32" fmla="*/ 118 w 354"/>
                  <a:gd name="T33" fmla="*/ 136 h 336"/>
                  <a:gd name="T34" fmla="*/ 152 w 354"/>
                  <a:gd name="T35" fmla="*/ 160 h 336"/>
                  <a:gd name="T36" fmla="*/ 194 w 354"/>
                  <a:gd name="T37" fmla="*/ 208 h 336"/>
                  <a:gd name="T38" fmla="*/ 194 w 354"/>
                  <a:gd name="T39" fmla="*/ 248 h 336"/>
                  <a:gd name="T40" fmla="*/ 211 w 354"/>
                  <a:gd name="T41" fmla="*/ 320 h 336"/>
                  <a:gd name="T42" fmla="*/ 236 w 354"/>
                  <a:gd name="T43" fmla="*/ 336 h 336"/>
                  <a:gd name="T44" fmla="*/ 253 w 354"/>
                  <a:gd name="T45" fmla="*/ 312 h 336"/>
                  <a:gd name="T46" fmla="*/ 270 w 354"/>
                  <a:gd name="T47" fmla="*/ 248 h 3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54" h="336">
                    <a:moveTo>
                      <a:pt x="270" y="248"/>
                    </a:moveTo>
                    <a:lnTo>
                      <a:pt x="253" y="224"/>
                    </a:lnTo>
                    <a:lnTo>
                      <a:pt x="278" y="200"/>
                    </a:lnTo>
                    <a:lnTo>
                      <a:pt x="354" y="184"/>
                    </a:lnTo>
                    <a:lnTo>
                      <a:pt x="337" y="152"/>
                    </a:lnTo>
                    <a:lnTo>
                      <a:pt x="303" y="120"/>
                    </a:lnTo>
                    <a:lnTo>
                      <a:pt x="287" y="88"/>
                    </a:lnTo>
                    <a:lnTo>
                      <a:pt x="236" y="72"/>
                    </a:lnTo>
                    <a:lnTo>
                      <a:pt x="211" y="24"/>
                    </a:lnTo>
                    <a:lnTo>
                      <a:pt x="152" y="24"/>
                    </a:lnTo>
                    <a:lnTo>
                      <a:pt x="84" y="0"/>
                    </a:lnTo>
                    <a:lnTo>
                      <a:pt x="59" y="24"/>
                    </a:lnTo>
                    <a:lnTo>
                      <a:pt x="8" y="32"/>
                    </a:lnTo>
                    <a:lnTo>
                      <a:pt x="0" y="40"/>
                    </a:lnTo>
                    <a:lnTo>
                      <a:pt x="34" y="56"/>
                    </a:lnTo>
                    <a:lnTo>
                      <a:pt x="67" y="96"/>
                    </a:lnTo>
                    <a:lnTo>
                      <a:pt x="118" y="136"/>
                    </a:lnTo>
                    <a:lnTo>
                      <a:pt x="152" y="160"/>
                    </a:lnTo>
                    <a:lnTo>
                      <a:pt x="194" y="208"/>
                    </a:lnTo>
                    <a:lnTo>
                      <a:pt x="194" y="248"/>
                    </a:lnTo>
                    <a:lnTo>
                      <a:pt x="211" y="320"/>
                    </a:lnTo>
                    <a:lnTo>
                      <a:pt x="236" y="336"/>
                    </a:lnTo>
                    <a:lnTo>
                      <a:pt x="253" y="312"/>
                    </a:lnTo>
                    <a:lnTo>
                      <a:pt x="270" y="24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82">
                <a:extLst>
                  <a:ext uri="{FF2B5EF4-FFF2-40B4-BE49-F238E27FC236}">
                    <a16:creationId xmlns:a16="http://schemas.microsoft.com/office/drawing/2014/main" id="{6E41DEA9-604D-6D19-8C66-0A7B41B977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7189" y="4510021"/>
                <a:ext cx="1246685" cy="826471"/>
              </a:xfrm>
              <a:custGeom>
                <a:avLst/>
                <a:gdLst>
                  <a:gd name="T0" fmla="*/ 784 w 893"/>
                  <a:gd name="T1" fmla="*/ 312 h 592"/>
                  <a:gd name="T2" fmla="*/ 725 w 893"/>
                  <a:gd name="T3" fmla="*/ 280 h 592"/>
                  <a:gd name="T4" fmla="*/ 708 w 893"/>
                  <a:gd name="T5" fmla="*/ 208 h 592"/>
                  <a:gd name="T6" fmla="*/ 708 w 893"/>
                  <a:gd name="T7" fmla="*/ 168 h 592"/>
                  <a:gd name="T8" fmla="*/ 666 w 893"/>
                  <a:gd name="T9" fmla="*/ 120 h 592"/>
                  <a:gd name="T10" fmla="*/ 632 w 893"/>
                  <a:gd name="T11" fmla="*/ 96 h 592"/>
                  <a:gd name="T12" fmla="*/ 581 w 893"/>
                  <a:gd name="T13" fmla="*/ 56 h 592"/>
                  <a:gd name="T14" fmla="*/ 548 w 893"/>
                  <a:gd name="T15" fmla="*/ 16 h 592"/>
                  <a:gd name="T16" fmla="*/ 506 w 893"/>
                  <a:gd name="T17" fmla="*/ 0 h 592"/>
                  <a:gd name="T18" fmla="*/ 472 w 893"/>
                  <a:gd name="T19" fmla="*/ 48 h 592"/>
                  <a:gd name="T20" fmla="*/ 396 w 893"/>
                  <a:gd name="T21" fmla="*/ 72 h 592"/>
                  <a:gd name="T22" fmla="*/ 371 w 893"/>
                  <a:gd name="T23" fmla="*/ 96 h 592"/>
                  <a:gd name="T24" fmla="*/ 337 w 893"/>
                  <a:gd name="T25" fmla="*/ 80 h 592"/>
                  <a:gd name="T26" fmla="*/ 287 w 893"/>
                  <a:gd name="T27" fmla="*/ 88 h 592"/>
                  <a:gd name="T28" fmla="*/ 253 w 893"/>
                  <a:gd name="T29" fmla="*/ 88 h 592"/>
                  <a:gd name="T30" fmla="*/ 219 w 893"/>
                  <a:gd name="T31" fmla="*/ 80 h 592"/>
                  <a:gd name="T32" fmla="*/ 185 w 893"/>
                  <a:gd name="T33" fmla="*/ 104 h 592"/>
                  <a:gd name="T34" fmla="*/ 185 w 893"/>
                  <a:gd name="T35" fmla="*/ 104 h 592"/>
                  <a:gd name="T36" fmla="*/ 160 w 893"/>
                  <a:gd name="T37" fmla="*/ 128 h 592"/>
                  <a:gd name="T38" fmla="*/ 135 w 893"/>
                  <a:gd name="T39" fmla="*/ 168 h 592"/>
                  <a:gd name="T40" fmla="*/ 110 w 893"/>
                  <a:gd name="T41" fmla="*/ 224 h 592"/>
                  <a:gd name="T42" fmla="*/ 84 w 893"/>
                  <a:gd name="T43" fmla="*/ 256 h 592"/>
                  <a:gd name="T44" fmla="*/ 76 w 893"/>
                  <a:gd name="T45" fmla="*/ 280 h 592"/>
                  <a:gd name="T46" fmla="*/ 67 w 893"/>
                  <a:gd name="T47" fmla="*/ 320 h 592"/>
                  <a:gd name="T48" fmla="*/ 51 w 893"/>
                  <a:gd name="T49" fmla="*/ 328 h 592"/>
                  <a:gd name="T50" fmla="*/ 25 w 893"/>
                  <a:gd name="T51" fmla="*/ 344 h 592"/>
                  <a:gd name="T52" fmla="*/ 0 w 893"/>
                  <a:gd name="T53" fmla="*/ 352 h 592"/>
                  <a:gd name="T54" fmla="*/ 17 w 893"/>
                  <a:gd name="T55" fmla="*/ 368 h 592"/>
                  <a:gd name="T56" fmla="*/ 51 w 893"/>
                  <a:gd name="T57" fmla="*/ 392 h 592"/>
                  <a:gd name="T58" fmla="*/ 59 w 893"/>
                  <a:gd name="T59" fmla="*/ 416 h 592"/>
                  <a:gd name="T60" fmla="*/ 93 w 893"/>
                  <a:gd name="T61" fmla="*/ 440 h 592"/>
                  <a:gd name="T62" fmla="*/ 135 w 893"/>
                  <a:gd name="T63" fmla="*/ 456 h 592"/>
                  <a:gd name="T64" fmla="*/ 118 w 893"/>
                  <a:gd name="T65" fmla="*/ 488 h 592"/>
                  <a:gd name="T66" fmla="*/ 160 w 893"/>
                  <a:gd name="T67" fmla="*/ 496 h 592"/>
                  <a:gd name="T68" fmla="*/ 202 w 893"/>
                  <a:gd name="T69" fmla="*/ 512 h 592"/>
                  <a:gd name="T70" fmla="*/ 244 w 893"/>
                  <a:gd name="T71" fmla="*/ 488 h 592"/>
                  <a:gd name="T72" fmla="*/ 244 w 893"/>
                  <a:gd name="T73" fmla="*/ 528 h 592"/>
                  <a:gd name="T74" fmla="*/ 261 w 893"/>
                  <a:gd name="T75" fmla="*/ 536 h 592"/>
                  <a:gd name="T76" fmla="*/ 253 w 893"/>
                  <a:gd name="T77" fmla="*/ 544 h 592"/>
                  <a:gd name="T78" fmla="*/ 287 w 893"/>
                  <a:gd name="T79" fmla="*/ 560 h 592"/>
                  <a:gd name="T80" fmla="*/ 287 w 893"/>
                  <a:gd name="T81" fmla="*/ 584 h 592"/>
                  <a:gd name="T82" fmla="*/ 320 w 893"/>
                  <a:gd name="T83" fmla="*/ 592 h 592"/>
                  <a:gd name="T84" fmla="*/ 413 w 893"/>
                  <a:gd name="T85" fmla="*/ 592 h 592"/>
                  <a:gd name="T86" fmla="*/ 438 w 893"/>
                  <a:gd name="T87" fmla="*/ 568 h 592"/>
                  <a:gd name="T88" fmla="*/ 463 w 893"/>
                  <a:gd name="T89" fmla="*/ 568 h 592"/>
                  <a:gd name="T90" fmla="*/ 514 w 893"/>
                  <a:gd name="T91" fmla="*/ 568 h 592"/>
                  <a:gd name="T92" fmla="*/ 565 w 893"/>
                  <a:gd name="T93" fmla="*/ 560 h 592"/>
                  <a:gd name="T94" fmla="*/ 607 w 893"/>
                  <a:gd name="T95" fmla="*/ 504 h 592"/>
                  <a:gd name="T96" fmla="*/ 657 w 893"/>
                  <a:gd name="T97" fmla="*/ 488 h 592"/>
                  <a:gd name="T98" fmla="*/ 699 w 893"/>
                  <a:gd name="T99" fmla="*/ 480 h 592"/>
                  <a:gd name="T100" fmla="*/ 725 w 893"/>
                  <a:gd name="T101" fmla="*/ 488 h 592"/>
                  <a:gd name="T102" fmla="*/ 767 w 893"/>
                  <a:gd name="T103" fmla="*/ 480 h 592"/>
                  <a:gd name="T104" fmla="*/ 775 w 893"/>
                  <a:gd name="T105" fmla="*/ 496 h 592"/>
                  <a:gd name="T106" fmla="*/ 826 w 893"/>
                  <a:gd name="T107" fmla="*/ 496 h 592"/>
                  <a:gd name="T108" fmla="*/ 834 w 893"/>
                  <a:gd name="T109" fmla="*/ 416 h 592"/>
                  <a:gd name="T110" fmla="*/ 851 w 893"/>
                  <a:gd name="T111" fmla="*/ 376 h 592"/>
                  <a:gd name="T112" fmla="*/ 885 w 893"/>
                  <a:gd name="T113" fmla="*/ 336 h 592"/>
                  <a:gd name="T114" fmla="*/ 893 w 893"/>
                  <a:gd name="T115" fmla="*/ 312 h 592"/>
                  <a:gd name="T116" fmla="*/ 876 w 893"/>
                  <a:gd name="T117" fmla="*/ 288 h 592"/>
                  <a:gd name="T118" fmla="*/ 834 w 893"/>
                  <a:gd name="T119" fmla="*/ 288 h 592"/>
                  <a:gd name="T120" fmla="*/ 784 w 893"/>
                  <a:gd name="T121" fmla="*/ 312 h 59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893" h="592">
                    <a:moveTo>
                      <a:pt x="784" y="312"/>
                    </a:moveTo>
                    <a:lnTo>
                      <a:pt x="725" y="280"/>
                    </a:lnTo>
                    <a:lnTo>
                      <a:pt x="708" y="208"/>
                    </a:lnTo>
                    <a:lnTo>
                      <a:pt x="708" y="168"/>
                    </a:lnTo>
                    <a:lnTo>
                      <a:pt x="666" y="120"/>
                    </a:lnTo>
                    <a:lnTo>
                      <a:pt x="632" y="96"/>
                    </a:lnTo>
                    <a:lnTo>
                      <a:pt x="581" y="56"/>
                    </a:lnTo>
                    <a:lnTo>
                      <a:pt x="548" y="16"/>
                    </a:lnTo>
                    <a:lnTo>
                      <a:pt x="506" y="0"/>
                    </a:lnTo>
                    <a:lnTo>
                      <a:pt x="472" y="48"/>
                    </a:lnTo>
                    <a:lnTo>
                      <a:pt x="396" y="72"/>
                    </a:lnTo>
                    <a:lnTo>
                      <a:pt x="371" y="96"/>
                    </a:lnTo>
                    <a:lnTo>
                      <a:pt x="337" y="80"/>
                    </a:lnTo>
                    <a:lnTo>
                      <a:pt x="287" y="88"/>
                    </a:lnTo>
                    <a:lnTo>
                      <a:pt x="253" y="88"/>
                    </a:lnTo>
                    <a:lnTo>
                      <a:pt x="219" y="80"/>
                    </a:lnTo>
                    <a:lnTo>
                      <a:pt x="185" y="104"/>
                    </a:lnTo>
                    <a:lnTo>
                      <a:pt x="160" y="128"/>
                    </a:lnTo>
                    <a:lnTo>
                      <a:pt x="135" y="168"/>
                    </a:lnTo>
                    <a:lnTo>
                      <a:pt x="110" y="224"/>
                    </a:lnTo>
                    <a:lnTo>
                      <a:pt x="84" y="256"/>
                    </a:lnTo>
                    <a:lnTo>
                      <a:pt x="76" y="280"/>
                    </a:lnTo>
                    <a:lnTo>
                      <a:pt x="67" y="320"/>
                    </a:lnTo>
                    <a:lnTo>
                      <a:pt x="51" y="328"/>
                    </a:lnTo>
                    <a:lnTo>
                      <a:pt x="25" y="344"/>
                    </a:lnTo>
                    <a:lnTo>
                      <a:pt x="0" y="352"/>
                    </a:lnTo>
                    <a:lnTo>
                      <a:pt x="17" y="368"/>
                    </a:lnTo>
                    <a:lnTo>
                      <a:pt x="51" y="392"/>
                    </a:lnTo>
                    <a:lnTo>
                      <a:pt x="59" y="416"/>
                    </a:lnTo>
                    <a:lnTo>
                      <a:pt x="93" y="440"/>
                    </a:lnTo>
                    <a:lnTo>
                      <a:pt x="135" y="456"/>
                    </a:lnTo>
                    <a:lnTo>
                      <a:pt x="118" y="488"/>
                    </a:lnTo>
                    <a:lnTo>
                      <a:pt x="160" y="496"/>
                    </a:lnTo>
                    <a:lnTo>
                      <a:pt x="202" y="512"/>
                    </a:lnTo>
                    <a:lnTo>
                      <a:pt x="244" y="488"/>
                    </a:lnTo>
                    <a:lnTo>
                      <a:pt x="244" y="528"/>
                    </a:lnTo>
                    <a:lnTo>
                      <a:pt x="261" y="536"/>
                    </a:lnTo>
                    <a:lnTo>
                      <a:pt x="253" y="544"/>
                    </a:lnTo>
                    <a:lnTo>
                      <a:pt x="287" y="560"/>
                    </a:lnTo>
                    <a:lnTo>
                      <a:pt x="287" y="584"/>
                    </a:lnTo>
                    <a:lnTo>
                      <a:pt x="320" y="592"/>
                    </a:lnTo>
                    <a:lnTo>
                      <a:pt x="413" y="592"/>
                    </a:lnTo>
                    <a:lnTo>
                      <a:pt x="438" y="568"/>
                    </a:lnTo>
                    <a:lnTo>
                      <a:pt x="463" y="568"/>
                    </a:lnTo>
                    <a:lnTo>
                      <a:pt x="514" y="568"/>
                    </a:lnTo>
                    <a:lnTo>
                      <a:pt x="565" y="560"/>
                    </a:lnTo>
                    <a:lnTo>
                      <a:pt x="607" y="504"/>
                    </a:lnTo>
                    <a:lnTo>
                      <a:pt x="657" y="488"/>
                    </a:lnTo>
                    <a:lnTo>
                      <a:pt x="699" y="480"/>
                    </a:lnTo>
                    <a:lnTo>
                      <a:pt x="725" y="488"/>
                    </a:lnTo>
                    <a:lnTo>
                      <a:pt x="767" y="480"/>
                    </a:lnTo>
                    <a:lnTo>
                      <a:pt x="775" y="496"/>
                    </a:lnTo>
                    <a:lnTo>
                      <a:pt x="826" y="496"/>
                    </a:lnTo>
                    <a:lnTo>
                      <a:pt x="834" y="416"/>
                    </a:lnTo>
                    <a:lnTo>
                      <a:pt x="851" y="376"/>
                    </a:lnTo>
                    <a:lnTo>
                      <a:pt x="885" y="336"/>
                    </a:lnTo>
                    <a:lnTo>
                      <a:pt x="893" y="312"/>
                    </a:lnTo>
                    <a:lnTo>
                      <a:pt x="876" y="288"/>
                    </a:lnTo>
                    <a:lnTo>
                      <a:pt x="834" y="288"/>
                    </a:lnTo>
                    <a:lnTo>
                      <a:pt x="784" y="312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Freeform 83">
                <a:extLst>
                  <a:ext uri="{FF2B5EF4-FFF2-40B4-BE49-F238E27FC236}">
                    <a16:creationId xmlns:a16="http://schemas.microsoft.com/office/drawing/2014/main" id="{301EF4EC-26E0-25FD-A201-6F223CBF5B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4766" y="4454179"/>
                <a:ext cx="494207" cy="469078"/>
              </a:xfrm>
              <a:custGeom>
                <a:avLst/>
                <a:gdLst>
                  <a:gd name="T0" fmla="*/ 270 w 354"/>
                  <a:gd name="T1" fmla="*/ 248 h 336"/>
                  <a:gd name="T2" fmla="*/ 253 w 354"/>
                  <a:gd name="T3" fmla="*/ 224 h 336"/>
                  <a:gd name="T4" fmla="*/ 278 w 354"/>
                  <a:gd name="T5" fmla="*/ 200 h 336"/>
                  <a:gd name="T6" fmla="*/ 354 w 354"/>
                  <a:gd name="T7" fmla="*/ 184 h 336"/>
                  <a:gd name="T8" fmla="*/ 337 w 354"/>
                  <a:gd name="T9" fmla="*/ 152 h 336"/>
                  <a:gd name="T10" fmla="*/ 303 w 354"/>
                  <a:gd name="T11" fmla="*/ 120 h 336"/>
                  <a:gd name="T12" fmla="*/ 287 w 354"/>
                  <a:gd name="T13" fmla="*/ 88 h 336"/>
                  <a:gd name="T14" fmla="*/ 236 w 354"/>
                  <a:gd name="T15" fmla="*/ 72 h 336"/>
                  <a:gd name="T16" fmla="*/ 211 w 354"/>
                  <a:gd name="T17" fmla="*/ 24 h 336"/>
                  <a:gd name="T18" fmla="*/ 152 w 354"/>
                  <a:gd name="T19" fmla="*/ 24 h 336"/>
                  <a:gd name="T20" fmla="*/ 84 w 354"/>
                  <a:gd name="T21" fmla="*/ 0 h 336"/>
                  <a:gd name="T22" fmla="*/ 59 w 354"/>
                  <a:gd name="T23" fmla="*/ 24 h 336"/>
                  <a:gd name="T24" fmla="*/ 8 w 354"/>
                  <a:gd name="T25" fmla="*/ 32 h 336"/>
                  <a:gd name="T26" fmla="*/ 0 w 354"/>
                  <a:gd name="T27" fmla="*/ 40 h 336"/>
                  <a:gd name="T28" fmla="*/ 34 w 354"/>
                  <a:gd name="T29" fmla="*/ 56 h 336"/>
                  <a:gd name="T30" fmla="*/ 67 w 354"/>
                  <a:gd name="T31" fmla="*/ 96 h 336"/>
                  <a:gd name="T32" fmla="*/ 118 w 354"/>
                  <a:gd name="T33" fmla="*/ 136 h 336"/>
                  <a:gd name="T34" fmla="*/ 152 w 354"/>
                  <a:gd name="T35" fmla="*/ 160 h 336"/>
                  <a:gd name="T36" fmla="*/ 194 w 354"/>
                  <a:gd name="T37" fmla="*/ 208 h 336"/>
                  <a:gd name="T38" fmla="*/ 194 w 354"/>
                  <a:gd name="T39" fmla="*/ 248 h 336"/>
                  <a:gd name="T40" fmla="*/ 211 w 354"/>
                  <a:gd name="T41" fmla="*/ 320 h 336"/>
                  <a:gd name="T42" fmla="*/ 236 w 354"/>
                  <a:gd name="T43" fmla="*/ 336 h 336"/>
                  <a:gd name="T44" fmla="*/ 253 w 354"/>
                  <a:gd name="T45" fmla="*/ 312 h 336"/>
                  <a:gd name="T46" fmla="*/ 270 w 354"/>
                  <a:gd name="T47" fmla="*/ 248 h 3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54" h="336">
                    <a:moveTo>
                      <a:pt x="270" y="248"/>
                    </a:moveTo>
                    <a:lnTo>
                      <a:pt x="253" y="224"/>
                    </a:lnTo>
                    <a:lnTo>
                      <a:pt x="278" y="200"/>
                    </a:lnTo>
                    <a:lnTo>
                      <a:pt x="354" y="184"/>
                    </a:lnTo>
                    <a:lnTo>
                      <a:pt x="337" y="152"/>
                    </a:lnTo>
                    <a:lnTo>
                      <a:pt x="303" y="120"/>
                    </a:lnTo>
                    <a:lnTo>
                      <a:pt x="287" y="88"/>
                    </a:lnTo>
                    <a:lnTo>
                      <a:pt x="236" y="72"/>
                    </a:lnTo>
                    <a:lnTo>
                      <a:pt x="211" y="24"/>
                    </a:lnTo>
                    <a:lnTo>
                      <a:pt x="152" y="24"/>
                    </a:lnTo>
                    <a:lnTo>
                      <a:pt x="84" y="0"/>
                    </a:lnTo>
                    <a:lnTo>
                      <a:pt x="59" y="24"/>
                    </a:lnTo>
                    <a:lnTo>
                      <a:pt x="8" y="32"/>
                    </a:lnTo>
                    <a:lnTo>
                      <a:pt x="0" y="40"/>
                    </a:lnTo>
                    <a:lnTo>
                      <a:pt x="34" y="56"/>
                    </a:lnTo>
                    <a:lnTo>
                      <a:pt x="67" y="96"/>
                    </a:lnTo>
                    <a:lnTo>
                      <a:pt x="118" y="136"/>
                    </a:lnTo>
                    <a:lnTo>
                      <a:pt x="152" y="160"/>
                    </a:lnTo>
                    <a:lnTo>
                      <a:pt x="194" y="208"/>
                    </a:lnTo>
                    <a:lnTo>
                      <a:pt x="194" y="248"/>
                    </a:lnTo>
                    <a:lnTo>
                      <a:pt x="211" y="320"/>
                    </a:lnTo>
                    <a:lnTo>
                      <a:pt x="236" y="336"/>
                    </a:lnTo>
                    <a:lnTo>
                      <a:pt x="253" y="312"/>
                    </a:lnTo>
                    <a:lnTo>
                      <a:pt x="270" y="24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Freeform 84">
                <a:extLst>
                  <a:ext uri="{FF2B5EF4-FFF2-40B4-BE49-F238E27FC236}">
                    <a16:creationId xmlns:a16="http://schemas.microsoft.com/office/drawing/2014/main" id="{B067673C-B9B5-6802-8D56-8F8927E5E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4876" y="3583034"/>
                <a:ext cx="1200616" cy="915819"/>
              </a:xfrm>
              <a:custGeom>
                <a:avLst/>
                <a:gdLst>
                  <a:gd name="T0" fmla="*/ 775 w 860"/>
                  <a:gd name="T1" fmla="*/ 560 h 656"/>
                  <a:gd name="T2" fmla="*/ 826 w 860"/>
                  <a:gd name="T3" fmla="*/ 464 h 656"/>
                  <a:gd name="T4" fmla="*/ 860 w 860"/>
                  <a:gd name="T5" fmla="*/ 456 h 656"/>
                  <a:gd name="T6" fmla="*/ 851 w 860"/>
                  <a:gd name="T7" fmla="*/ 416 h 656"/>
                  <a:gd name="T8" fmla="*/ 817 w 860"/>
                  <a:gd name="T9" fmla="*/ 352 h 656"/>
                  <a:gd name="T10" fmla="*/ 792 w 860"/>
                  <a:gd name="T11" fmla="*/ 320 h 656"/>
                  <a:gd name="T12" fmla="*/ 784 w 860"/>
                  <a:gd name="T13" fmla="*/ 264 h 656"/>
                  <a:gd name="T14" fmla="*/ 750 w 860"/>
                  <a:gd name="T15" fmla="*/ 256 h 656"/>
                  <a:gd name="T16" fmla="*/ 750 w 860"/>
                  <a:gd name="T17" fmla="*/ 232 h 656"/>
                  <a:gd name="T18" fmla="*/ 792 w 860"/>
                  <a:gd name="T19" fmla="*/ 184 h 656"/>
                  <a:gd name="T20" fmla="*/ 750 w 860"/>
                  <a:gd name="T21" fmla="*/ 104 h 656"/>
                  <a:gd name="T22" fmla="*/ 725 w 860"/>
                  <a:gd name="T23" fmla="*/ 40 h 656"/>
                  <a:gd name="T24" fmla="*/ 666 w 860"/>
                  <a:gd name="T25" fmla="*/ 16 h 656"/>
                  <a:gd name="T26" fmla="*/ 531 w 860"/>
                  <a:gd name="T27" fmla="*/ 40 h 656"/>
                  <a:gd name="T28" fmla="*/ 447 w 860"/>
                  <a:gd name="T29" fmla="*/ 24 h 656"/>
                  <a:gd name="T30" fmla="*/ 405 w 860"/>
                  <a:gd name="T31" fmla="*/ 48 h 656"/>
                  <a:gd name="T32" fmla="*/ 362 w 860"/>
                  <a:gd name="T33" fmla="*/ 40 h 656"/>
                  <a:gd name="T34" fmla="*/ 329 w 860"/>
                  <a:gd name="T35" fmla="*/ 24 h 656"/>
                  <a:gd name="T36" fmla="*/ 295 w 860"/>
                  <a:gd name="T37" fmla="*/ 0 h 656"/>
                  <a:gd name="T38" fmla="*/ 253 w 860"/>
                  <a:gd name="T39" fmla="*/ 8 h 656"/>
                  <a:gd name="T40" fmla="*/ 177 w 860"/>
                  <a:gd name="T41" fmla="*/ 40 h 656"/>
                  <a:gd name="T42" fmla="*/ 169 w 860"/>
                  <a:gd name="T43" fmla="*/ 72 h 656"/>
                  <a:gd name="T44" fmla="*/ 126 w 860"/>
                  <a:gd name="T45" fmla="*/ 88 h 656"/>
                  <a:gd name="T46" fmla="*/ 25 w 860"/>
                  <a:gd name="T47" fmla="*/ 128 h 656"/>
                  <a:gd name="T48" fmla="*/ 9 w 860"/>
                  <a:gd name="T49" fmla="*/ 128 h 656"/>
                  <a:gd name="T50" fmla="*/ 17 w 860"/>
                  <a:gd name="T51" fmla="*/ 176 h 656"/>
                  <a:gd name="T52" fmla="*/ 25 w 860"/>
                  <a:gd name="T53" fmla="*/ 208 h 656"/>
                  <a:gd name="T54" fmla="*/ 0 w 860"/>
                  <a:gd name="T55" fmla="*/ 256 h 656"/>
                  <a:gd name="T56" fmla="*/ 51 w 860"/>
                  <a:gd name="T57" fmla="*/ 288 h 656"/>
                  <a:gd name="T58" fmla="*/ 51 w 860"/>
                  <a:gd name="T59" fmla="*/ 320 h 656"/>
                  <a:gd name="T60" fmla="*/ 76 w 860"/>
                  <a:gd name="T61" fmla="*/ 360 h 656"/>
                  <a:gd name="T62" fmla="*/ 59 w 860"/>
                  <a:gd name="T63" fmla="*/ 400 h 656"/>
                  <a:gd name="T64" fmla="*/ 84 w 860"/>
                  <a:gd name="T65" fmla="*/ 432 h 656"/>
                  <a:gd name="T66" fmla="*/ 84 w 860"/>
                  <a:gd name="T67" fmla="*/ 472 h 656"/>
                  <a:gd name="T68" fmla="*/ 126 w 860"/>
                  <a:gd name="T69" fmla="*/ 496 h 656"/>
                  <a:gd name="T70" fmla="*/ 169 w 860"/>
                  <a:gd name="T71" fmla="*/ 512 h 656"/>
                  <a:gd name="T72" fmla="*/ 211 w 860"/>
                  <a:gd name="T73" fmla="*/ 512 h 656"/>
                  <a:gd name="T74" fmla="*/ 202 w 860"/>
                  <a:gd name="T75" fmla="*/ 544 h 656"/>
                  <a:gd name="T76" fmla="*/ 244 w 860"/>
                  <a:gd name="T77" fmla="*/ 576 h 656"/>
                  <a:gd name="T78" fmla="*/ 270 w 860"/>
                  <a:gd name="T79" fmla="*/ 560 h 656"/>
                  <a:gd name="T80" fmla="*/ 270 w 860"/>
                  <a:gd name="T81" fmla="*/ 536 h 656"/>
                  <a:gd name="T82" fmla="*/ 320 w 860"/>
                  <a:gd name="T83" fmla="*/ 552 h 656"/>
                  <a:gd name="T84" fmla="*/ 337 w 860"/>
                  <a:gd name="T85" fmla="*/ 576 h 656"/>
                  <a:gd name="T86" fmla="*/ 379 w 860"/>
                  <a:gd name="T87" fmla="*/ 584 h 656"/>
                  <a:gd name="T88" fmla="*/ 421 w 860"/>
                  <a:gd name="T89" fmla="*/ 592 h 656"/>
                  <a:gd name="T90" fmla="*/ 438 w 860"/>
                  <a:gd name="T91" fmla="*/ 624 h 656"/>
                  <a:gd name="T92" fmla="*/ 464 w 860"/>
                  <a:gd name="T93" fmla="*/ 640 h 656"/>
                  <a:gd name="T94" fmla="*/ 497 w 860"/>
                  <a:gd name="T95" fmla="*/ 616 h 656"/>
                  <a:gd name="T96" fmla="*/ 523 w 860"/>
                  <a:gd name="T97" fmla="*/ 640 h 656"/>
                  <a:gd name="T98" fmla="*/ 531 w 860"/>
                  <a:gd name="T99" fmla="*/ 656 h 656"/>
                  <a:gd name="T100" fmla="*/ 556 w 860"/>
                  <a:gd name="T101" fmla="*/ 656 h 656"/>
                  <a:gd name="T102" fmla="*/ 581 w 860"/>
                  <a:gd name="T103" fmla="*/ 632 h 656"/>
                  <a:gd name="T104" fmla="*/ 615 w 860"/>
                  <a:gd name="T105" fmla="*/ 632 h 656"/>
                  <a:gd name="T106" fmla="*/ 640 w 860"/>
                  <a:gd name="T107" fmla="*/ 616 h 656"/>
                  <a:gd name="T108" fmla="*/ 683 w 860"/>
                  <a:gd name="T109" fmla="*/ 616 h 656"/>
                  <a:gd name="T110" fmla="*/ 708 w 860"/>
                  <a:gd name="T111" fmla="*/ 624 h 656"/>
                  <a:gd name="T112" fmla="*/ 767 w 860"/>
                  <a:gd name="T113" fmla="*/ 632 h 656"/>
                  <a:gd name="T114" fmla="*/ 758 w 860"/>
                  <a:gd name="T115" fmla="*/ 640 h 656"/>
                  <a:gd name="T116" fmla="*/ 792 w 860"/>
                  <a:gd name="T117" fmla="*/ 632 h 656"/>
                  <a:gd name="T118" fmla="*/ 775 w 860"/>
                  <a:gd name="T119" fmla="*/ 560 h 65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60" h="656">
                    <a:moveTo>
                      <a:pt x="775" y="560"/>
                    </a:moveTo>
                    <a:lnTo>
                      <a:pt x="826" y="464"/>
                    </a:lnTo>
                    <a:lnTo>
                      <a:pt x="860" y="456"/>
                    </a:lnTo>
                    <a:lnTo>
                      <a:pt x="851" y="416"/>
                    </a:lnTo>
                    <a:lnTo>
                      <a:pt x="817" y="352"/>
                    </a:lnTo>
                    <a:lnTo>
                      <a:pt x="792" y="320"/>
                    </a:lnTo>
                    <a:lnTo>
                      <a:pt x="784" y="264"/>
                    </a:lnTo>
                    <a:lnTo>
                      <a:pt x="750" y="256"/>
                    </a:lnTo>
                    <a:lnTo>
                      <a:pt x="750" y="232"/>
                    </a:lnTo>
                    <a:lnTo>
                      <a:pt x="792" y="184"/>
                    </a:lnTo>
                    <a:lnTo>
                      <a:pt x="750" y="104"/>
                    </a:lnTo>
                    <a:lnTo>
                      <a:pt x="725" y="40"/>
                    </a:lnTo>
                    <a:lnTo>
                      <a:pt x="666" y="16"/>
                    </a:lnTo>
                    <a:lnTo>
                      <a:pt x="531" y="40"/>
                    </a:lnTo>
                    <a:lnTo>
                      <a:pt x="447" y="24"/>
                    </a:lnTo>
                    <a:lnTo>
                      <a:pt x="405" y="48"/>
                    </a:lnTo>
                    <a:lnTo>
                      <a:pt x="362" y="40"/>
                    </a:lnTo>
                    <a:lnTo>
                      <a:pt x="329" y="24"/>
                    </a:lnTo>
                    <a:lnTo>
                      <a:pt x="295" y="0"/>
                    </a:lnTo>
                    <a:lnTo>
                      <a:pt x="253" y="8"/>
                    </a:lnTo>
                    <a:lnTo>
                      <a:pt x="177" y="40"/>
                    </a:lnTo>
                    <a:lnTo>
                      <a:pt x="169" y="72"/>
                    </a:lnTo>
                    <a:lnTo>
                      <a:pt x="126" y="88"/>
                    </a:lnTo>
                    <a:lnTo>
                      <a:pt x="25" y="128"/>
                    </a:lnTo>
                    <a:lnTo>
                      <a:pt x="9" y="128"/>
                    </a:lnTo>
                    <a:lnTo>
                      <a:pt x="17" y="176"/>
                    </a:lnTo>
                    <a:lnTo>
                      <a:pt x="25" y="208"/>
                    </a:lnTo>
                    <a:lnTo>
                      <a:pt x="0" y="256"/>
                    </a:lnTo>
                    <a:lnTo>
                      <a:pt x="51" y="288"/>
                    </a:lnTo>
                    <a:lnTo>
                      <a:pt x="51" y="320"/>
                    </a:lnTo>
                    <a:lnTo>
                      <a:pt x="76" y="360"/>
                    </a:lnTo>
                    <a:lnTo>
                      <a:pt x="59" y="400"/>
                    </a:lnTo>
                    <a:lnTo>
                      <a:pt x="84" y="432"/>
                    </a:lnTo>
                    <a:lnTo>
                      <a:pt x="84" y="472"/>
                    </a:lnTo>
                    <a:lnTo>
                      <a:pt x="126" y="496"/>
                    </a:lnTo>
                    <a:lnTo>
                      <a:pt x="169" y="512"/>
                    </a:lnTo>
                    <a:lnTo>
                      <a:pt x="211" y="512"/>
                    </a:lnTo>
                    <a:lnTo>
                      <a:pt x="202" y="544"/>
                    </a:lnTo>
                    <a:lnTo>
                      <a:pt x="244" y="576"/>
                    </a:lnTo>
                    <a:lnTo>
                      <a:pt x="270" y="560"/>
                    </a:lnTo>
                    <a:lnTo>
                      <a:pt x="270" y="536"/>
                    </a:lnTo>
                    <a:lnTo>
                      <a:pt x="320" y="552"/>
                    </a:lnTo>
                    <a:lnTo>
                      <a:pt x="337" y="576"/>
                    </a:lnTo>
                    <a:lnTo>
                      <a:pt x="379" y="584"/>
                    </a:lnTo>
                    <a:lnTo>
                      <a:pt x="421" y="592"/>
                    </a:lnTo>
                    <a:lnTo>
                      <a:pt x="438" y="624"/>
                    </a:lnTo>
                    <a:lnTo>
                      <a:pt x="464" y="640"/>
                    </a:lnTo>
                    <a:lnTo>
                      <a:pt x="497" y="616"/>
                    </a:lnTo>
                    <a:lnTo>
                      <a:pt x="523" y="640"/>
                    </a:lnTo>
                    <a:lnTo>
                      <a:pt x="531" y="656"/>
                    </a:lnTo>
                    <a:lnTo>
                      <a:pt x="556" y="656"/>
                    </a:lnTo>
                    <a:lnTo>
                      <a:pt x="581" y="632"/>
                    </a:lnTo>
                    <a:lnTo>
                      <a:pt x="615" y="632"/>
                    </a:lnTo>
                    <a:lnTo>
                      <a:pt x="640" y="616"/>
                    </a:lnTo>
                    <a:lnTo>
                      <a:pt x="683" y="616"/>
                    </a:lnTo>
                    <a:lnTo>
                      <a:pt x="708" y="624"/>
                    </a:lnTo>
                    <a:lnTo>
                      <a:pt x="767" y="632"/>
                    </a:lnTo>
                    <a:lnTo>
                      <a:pt x="758" y="640"/>
                    </a:lnTo>
                    <a:lnTo>
                      <a:pt x="792" y="632"/>
                    </a:lnTo>
                    <a:lnTo>
                      <a:pt x="775" y="56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Freeform 85">
                <a:extLst>
                  <a:ext uri="{FF2B5EF4-FFF2-40B4-BE49-F238E27FC236}">
                    <a16:creationId xmlns:a16="http://schemas.microsoft.com/office/drawing/2014/main" id="{C5055591-1079-4123-24AF-37659EF35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8917" y="3493687"/>
                <a:ext cx="293173" cy="156359"/>
              </a:xfrm>
              <a:custGeom>
                <a:avLst/>
                <a:gdLst>
                  <a:gd name="T0" fmla="*/ 168 w 210"/>
                  <a:gd name="T1" fmla="*/ 8 h 112"/>
                  <a:gd name="T2" fmla="*/ 109 w 210"/>
                  <a:gd name="T3" fmla="*/ 8 h 112"/>
                  <a:gd name="T4" fmla="*/ 76 w 210"/>
                  <a:gd name="T5" fmla="*/ 0 h 112"/>
                  <a:gd name="T6" fmla="*/ 67 w 210"/>
                  <a:gd name="T7" fmla="*/ 24 h 112"/>
                  <a:gd name="T8" fmla="*/ 42 w 210"/>
                  <a:gd name="T9" fmla="*/ 32 h 112"/>
                  <a:gd name="T10" fmla="*/ 8 w 210"/>
                  <a:gd name="T11" fmla="*/ 48 h 112"/>
                  <a:gd name="T12" fmla="*/ 8 w 210"/>
                  <a:gd name="T13" fmla="*/ 72 h 112"/>
                  <a:gd name="T14" fmla="*/ 0 w 210"/>
                  <a:gd name="T15" fmla="*/ 96 h 112"/>
                  <a:gd name="T16" fmla="*/ 84 w 210"/>
                  <a:gd name="T17" fmla="*/ 112 h 112"/>
                  <a:gd name="T18" fmla="*/ 210 w 210"/>
                  <a:gd name="T19" fmla="*/ 88 h 112"/>
                  <a:gd name="T20" fmla="*/ 193 w 210"/>
                  <a:gd name="T21" fmla="*/ 16 h 112"/>
                  <a:gd name="T22" fmla="*/ 168 w 210"/>
                  <a:gd name="T23" fmla="*/ 8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10" h="112">
                    <a:moveTo>
                      <a:pt x="168" y="8"/>
                    </a:moveTo>
                    <a:lnTo>
                      <a:pt x="109" y="8"/>
                    </a:lnTo>
                    <a:lnTo>
                      <a:pt x="76" y="0"/>
                    </a:lnTo>
                    <a:lnTo>
                      <a:pt x="67" y="24"/>
                    </a:lnTo>
                    <a:lnTo>
                      <a:pt x="42" y="32"/>
                    </a:lnTo>
                    <a:lnTo>
                      <a:pt x="8" y="48"/>
                    </a:lnTo>
                    <a:lnTo>
                      <a:pt x="8" y="72"/>
                    </a:lnTo>
                    <a:lnTo>
                      <a:pt x="0" y="96"/>
                    </a:lnTo>
                    <a:lnTo>
                      <a:pt x="84" y="112"/>
                    </a:lnTo>
                    <a:lnTo>
                      <a:pt x="210" y="88"/>
                    </a:lnTo>
                    <a:lnTo>
                      <a:pt x="193" y="16"/>
                    </a:lnTo>
                    <a:lnTo>
                      <a:pt x="168" y="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Freeform 86">
                <a:extLst>
                  <a:ext uri="{FF2B5EF4-FFF2-40B4-BE49-F238E27FC236}">
                    <a16:creationId xmlns:a16="http://schemas.microsoft.com/office/drawing/2014/main" id="{C58633AD-AAF4-1A37-63AB-33A125E35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4876" y="3583034"/>
                <a:ext cx="1200616" cy="915819"/>
              </a:xfrm>
              <a:custGeom>
                <a:avLst/>
                <a:gdLst>
                  <a:gd name="T0" fmla="*/ 775 w 860"/>
                  <a:gd name="T1" fmla="*/ 560 h 656"/>
                  <a:gd name="T2" fmla="*/ 826 w 860"/>
                  <a:gd name="T3" fmla="*/ 464 h 656"/>
                  <a:gd name="T4" fmla="*/ 860 w 860"/>
                  <a:gd name="T5" fmla="*/ 456 h 656"/>
                  <a:gd name="T6" fmla="*/ 851 w 860"/>
                  <a:gd name="T7" fmla="*/ 416 h 656"/>
                  <a:gd name="T8" fmla="*/ 817 w 860"/>
                  <a:gd name="T9" fmla="*/ 352 h 656"/>
                  <a:gd name="T10" fmla="*/ 792 w 860"/>
                  <a:gd name="T11" fmla="*/ 320 h 656"/>
                  <a:gd name="T12" fmla="*/ 784 w 860"/>
                  <a:gd name="T13" fmla="*/ 264 h 656"/>
                  <a:gd name="T14" fmla="*/ 750 w 860"/>
                  <a:gd name="T15" fmla="*/ 256 h 656"/>
                  <a:gd name="T16" fmla="*/ 750 w 860"/>
                  <a:gd name="T17" fmla="*/ 232 h 656"/>
                  <a:gd name="T18" fmla="*/ 792 w 860"/>
                  <a:gd name="T19" fmla="*/ 184 h 656"/>
                  <a:gd name="T20" fmla="*/ 750 w 860"/>
                  <a:gd name="T21" fmla="*/ 104 h 656"/>
                  <a:gd name="T22" fmla="*/ 725 w 860"/>
                  <a:gd name="T23" fmla="*/ 40 h 656"/>
                  <a:gd name="T24" fmla="*/ 666 w 860"/>
                  <a:gd name="T25" fmla="*/ 16 h 656"/>
                  <a:gd name="T26" fmla="*/ 531 w 860"/>
                  <a:gd name="T27" fmla="*/ 40 h 656"/>
                  <a:gd name="T28" fmla="*/ 447 w 860"/>
                  <a:gd name="T29" fmla="*/ 24 h 656"/>
                  <a:gd name="T30" fmla="*/ 405 w 860"/>
                  <a:gd name="T31" fmla="*/ 48 h 656"/>
                  <a:gd name="T32" fmla="*/ 362 w 860"/>
                  <a:gd name="T33" fmla="*/ 40 h 656"/>
                  <a:gd name="T34" fmla="*/ 329 w 860"/>
                  <a:gd name="T35" fmla="*/ 24 h 656"/>
                  <a:gd name="T36" fmla="*/ 295 w 860"/>
                  <a:gd name="T37" fmla="*/ 0 h 656"/>
                  <a:gd name="T38" fmla="*/ 253 w 860"/>
                  <a:gd name="T39" fmla="*/ 8 h 656"/>
                  <a:gd name="T40" fmla="*/ 177 w 860"/>
                  <a:gd name="T41" fmla="*/ 40 h 656"/>
                  <a:gd name="T42" fmla="*/ 169 w 860"/>
                  <a:gd name="T43" fmla="*/ 72 h 656"/>
                  <a:gd name="T44" fmla="*/ 126 w 860"/>
                  <a:gd name="T45" fmla="*/ 88 h 656"/>
                  <a:gd name="T46" fmla="*/ 25 w 860"/>
                  <a:gd name="T47" fmla="*/ 128 h 656"/>
                  <a:gd name="T48" fmla="*/ 9 w 860"/>
                  <a:gd name="T49" fmla="*/ 128 h 656"/>
                  <a:gd name="T50" fmla="*/ 17 w 860"/>
                  <a:gd name="T51" fmla="*/ 176 h 656"/>
                  <a:gd name="T52" fmla="*/ 25 w 860"/>
                  <a:gd name="T53" fmla="*/ 208 h 656"/>
                  <a:gd name="T54" fmla="*/ 0 w 860"/>
                  <a:gd name="T55" fmla="*/ 256 h 656"/>
                  <a:gd name="T56" fmla="*/ 51 w 860"/>
                  <a:gd name="T57" fmla="*/ 288 h 656"/>
                  <a:gd name="T58" fmla="*/ 51 w 860"/>
                  <a:gd name="T59" fmla="*/ 320 h 656"/>
                  <a:gd name="T60" fmla="*/ 76 w 860"/>
                  <a:gd name="T61" fmla="*/ 360 h 656"/>
                  <a:gd name="T62" fmla="*/ 59 w 860"/>
                  <a:gd name="T63" fmla="*/ 400 h 656"/>
                  <a:gd name="T64" fmla="*/ 84 w 860"/>
                  <a:gd name="T65" fmla="*/ 432 h 656"/>
                  <a:gd name="T66" fmla="*/ 84 w 860"/>
                  <a:gd name="T67" fmla="*/ 472 h 656"/>
                  <a:gd name="T68" fmla="*/ 126 w 860"/>
                  <a:gd name="T69" fmla="*/ 496 h 656"/>
                  <a:gd name="T70" fmla="*/ 169 w 860"/>
                  <a:gd name="T71" fmla="*/ 512 h 656"/>
                  <a:gd name="T72" fmla="*/ 211 w 860"/>
                  <a:gd name="T73" fmla="*/ 512 h 656"/>
                  <a:gd name="T74" fmla="*/ 202 w 860"/>
                  <a:gd name="T75" fmla="*/ 544 h 656"/>
                  <a:gd name="T76" fmla="*/ 244 w 860"/>
                  <a:gd name="T77" fmla="*/ 576 h 656"/>
                  <a:gd name="T78" fmla="*/ 270 w 860"/>
                  <a:gd name="T79" fmla="*/ 560 h 656"/>
                  <a:gd name="T80" fmla="*/ 270 w 860"/>
                  <a:gd name="T81" fmla="*/ 536 h 656"/>
                  <a:gd name="T82" fmla="*/ 320 w 860"/>
                  <a:gd name="T83" fmla="*/ 552 h 656"/>
                  <a:gd name="T84" fmla="*/ 337 w 860"/>
                  <a:gd name="T85" fmla="*/ 576 h 656"/>
                  <a:gd name="T86" fmla="*/ 379 w 860"/>
                  <a:gd name="T87" fmla="*/ 584 h 656"/>
                  <a:gd name="T88" fmla="*/ 421 w 860"/>
                  <a:gd name="T89" fmla="*/ 592 h 656"/>
                  <a:gd name="T90" fmla="*/ 438 w 860"/>
                  <a:gd name="T91" fmla="*/ 624 h 656"/>
                  <a:gd name="T92" fmla="*/ 438 w 860"/>
                  <a:gd name="T93" fmla="*/ 624 h 656"/>
                  <a:gd name="T94" fmla="*/ 464 w 860"/>
                  <a:gd name="T95" fmla="*/ 640 h 656"/>
                  <a:gd name="T96" fmla="*/ 497 w 860"/>
                  <a:gd name="T97" fmla="*/ 616 h 656"/>
                  <a:gd name="T98" fmla="*/ 523 w 860"/>
                  <a:gd name="T99" fmla="*/ 640 h 656"/>
                  <a:gd name="T100" fmla="*/ 531 w 860"/>
                  <a:gd name="T101" fmla="*/ 656 h 656"/>
                  <a:gd name="T102" fmla="*/ 556 w 860"/>
                  <a:gd name="T103" fmla="*/ 656 h 656"/>
                  <a:gd name="T104" fmla="*/ 581 w 860"/>
                  <a:gd name="T105" fmla="*/ 632 h 656"/>
                  <a:gd name="T106" fmla="*/ 615 w 860"/>
                  <a:gd name="T107" fmla="*/ 632 h 656"/>
                  <a:gd name="T108" fmla="*/ 640 w 860"/>
                  <a:gd name="T109" fmla="*/ 616 h 656"/>
                  <a:gd name="T110" fmla="*/ 683 w 860"/>
                  <a:gd name="T111" fmla="*/ 616 h 656"/>
                  <a:gd name="T112" fmla="*/ 708 w 860"/>
                  <a:gd name="T113" fmla="*/ 624 h 656"/>
                  <a:gd name="T114" fmla="*/ 767 w 860"/>
                  <a:gd name="T115" fmla="*/ 632 h 656"/>
                  <a:gd name="T116" fmla="*/ 758 w 860"/>
                  <a:gd name="T117" fmla="*/ 640 h 656"/>
                  <a:gd name="T118" fmla="*/ 792 w 860"/>
                  <a:gd name="T119" fmla="*/ 632 h 656"/>
                  <a:gd name="T120" fmla="*/ 775 w 860"/>
                  <a:gd name="T121" fmla="*/ 560 h 65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860" h="656">
                    <a:moveTo>
                      <a:pt x="775" y="560"/>
                    </a:moveTo>
                    <a:lnTo>
                      <a:pt x="826" y="464"/>
                    </a:lnTo>
                    <a:lnTo>
                      <a:pt x="860" y="456"/>
                    </a:lnTo>
                    <a:lnTo>
                      <a:pt x="851" y="416"/>
                    </a:lnTo>
                    <a:lnTo>
                      <a:pt x="817" y="352"/>
                    </a:lnTo>
                    <a:lnTo>
                      <a:pt x="792" y="320"/>
                    </a:lnTo>
                    <a:lnTo>
                      <a:pt x="784" y="264"/>
                    </a:lnTo>
                    <a:lnTo>
                      <a:pt x="750" y="256"/>
                    </a:lnTo>
                    <a:lnTo>
                      <a:pt x="750" y="232"/>
                    </a:lnTo>
                    <a:lnTo>
                      <a:pt x="792" y="184"/>
                    </a:lnTo>
                    <a:lnTo>
                      <a:pt x="750" y="104"/>
                    </a:lnTo>
                    <a:lnTo>
                      <a:pt x="725" y="40"/>
                    </a:lnTo>
                    <a:lnTo>
                      <a:pt x="666" y="16"/>
                    </a:lnTo>
                    <a:lnTo>
                      <a:pt x="531" y="40"/>
                    </a:lnTo>
                    <a:lnTo>
                      <a:pt x="447" y="24"/>
                    </a:lnTo>
                    <a:lnTo>
                      <a:pt x="405" y="48"/>
                    </a:lnTo>
                    <a:lnTo>
                      <a:pt x="362" y="40"/>
                    </a:lnTo>
                    <a:lnTo>
                      <a:pt x="329" y="24"/>
                    </a:lnTo>
                    <a:lnTo>
                      <a:pt x="295" y="0"/>
                    </a:lnTo>
                    <a:lnTo>
                      <a:pt x="253" y="8"/>
                    </a:lnTo>
                    <a:lnTo>
                      <a:pt x="177" y="40"/>
                    </a:lnTo>
                    <a:lnTo>
                      <a:pt x="169" y="72"/>
                    </a:lnTo>
                    <a:lnTo>
                      <a:pt x="126" y="88"/>
                    </a:lnTo>
                    <a:lnTo>
                      <a:pt x="25" y="128"/>
                    </a:lnTo>
                    <a:lnTo>
                      <a:pt x="9" y="128"/>
                    </a:lnTo>
                    <a:lnTo>
                      <a:pt x="17" y="176"/>
                    </a:lnTo>
                    <a:lnTo>
                      <a:pt x="25" y="208"/>
                    </a:lnTo>
                    <a:lnTo>
                      <a:pt x="0" y="256"/>
                    </a:lnTo>
                    <a:lnTo>
                      <a:pt x="51" y="288"/>
                    </a:lnTo>
                    <a:lnTo>
                      <a:pt x="51" y="320"/>
                    </a:lnTo>
                    <a:lnTo>
                      <a:pt x="76" y="360"/>
                    </a:lnTo>
                    <a:lnTo>
                      <a:pt x="59" y="400"/>
                    </a:lnTo>
                    <a:lnTo>
                      <a:pt x="84" y="432"/>
                    </a:lnTo>
                    <a:lnTo>
                      <a:pt x="84" y="472"/>
                    </a:lnTo>
                    <a:lnTo>
                      <a:pt x="126" y="496"/>
                    </a:lnTo>
                    <a:lnTo>
                      <a:pt x="169" y="512"/>
                    </a:lnTo>
                    <a:lnTo>
                      <a:pt x="211" y="512"/>
                    </a:lnTo>
                    <a:lnTo>
                      <a:pt x="202" y="544"/>
                    </a:lnTo>
                    <a:lnTo>
                      <a:pt x="244" y="576"/>
                    </a:lnTo>
                    <a:lnTo>
                      <a:pt x="270" y="560"/>
                    </a:lnTo>
                    <a:lnTo>
                      <a:pt x="270" y="536"/>
                    </a:lnTo>
                    <a:lnTo>
                      <a:pt x="320" y="552"/>
                    </a:lnTo>
                    <a:lnTo>
                      <a:pt x="337" y="576"/>
                    </a:lnTo>
                    <a:lnTo>
                      <a:pt x="379" y="584"/>
                    </a:lnTo>
                    <a:lnTo>
                      <a:pt x="421" y="592"/>
                    </a:lnTo>
                    <a:lnTo>
                      <a:pt x="438" y="624"/>
                    </a:lnTo>
                    <a:lnTo>
                      <a:pt x="464" y="640"/>
                    </a:lnTo>
                    <a:lnTo>
                      <a:pt x="497" y="616"/>
                    </a:lnTo>
                    <a:lnTo>
                      <a:pt x="523" y="640"/>
                    </a:lnTo>
                    <a:lnTo>
                      <a:pt x="531" y="656"/>
                    </a:lnTo>
                    <a:lnTo>
                      <a:pt x="556" y="656"/>
                    </a:lnTo>
                    <a:lnTo>
                      <a:pt x="581" y="632"/>
                    </a:lnTo>
                    <a:lnTo>
                      <a:pt x="615" y="632"/>
                    </a:lnTo>
                    <a:lnTo>
                      <a:pt x="640" y="616"/>
                    </a:lnTo>
                    <a:lnTo>
                      <a:pt x="683" y="616"/>
                    </a:lnTo>
                    <a:lnTo>
                      <a:pt x="708" y="624"/>
                    </a:lnTo>
                    <a:lnTo>
                      <a:pt x="767" y="632"/>
                    </a:lnTo>
                    <a:lnTo>
                      <a:pt x="758" y="640"/>
                    </a:lnTo>
                    <a:lnTo>
                      <a:pt x="792" y="632"/>
                    </a:lnTo>
                    <a:lnTo>
                      <a:pt x="775" y="56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Freeform 87">
                <a:extLst>
                  <a:ext uri="{FF2B5EF4-FFF2-40B4-BE49-F238E27FC236}">
                    <a16:creationId xmlns:a16="http://schemas.microsoft.com/office/drawing/2014/main" id="{7A10DB5F-C456-D15D-D011-63928FE62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8917" y="3482518"/>
                <a:ext cx="293173" cy="156359"/>
              </a:xfrm>
              <a:custGeom>
                <a:avLst/>
                <a:gdLst>
                  <a:gd name="T0" fmla="*/ 168 w 210"/>
                  <a:gd name="T1" fmla="*/ 8 h 112"/>
                  <a:gd name="T2" fmla="*/ 109 w 210"/>
                  <a:gd name="T3" fmla="*/ 8 h 112"/>
                  <a:gd name="T4" fmla="*/ 76 w 210"/>
                  <a:gd name="T5" fmla="*/ 0 h 112"/>
                  <a:gd name="T6" fmla="*/ 67 w 210"/>
                  <a:gd name="T7" fmla="*/ 24 h 112"/>
                  <a:gd name="T8" fmla="*/ 42 w 210"/>
                  <a:gd name="T9" fmla="*/ 32 h 112"/>
                  <a:gd name="T10" fmla="*/ 8 w 210"/>
                  <a:gd name="T11" fmla="*/ 48 h 112"/>
                  <a:gd name="T12" fmla="*/ 8 w 210"/>
                  <a:gd name="T13" fmla="*/ 72 h 112"/>
                  <a:gd name="T14" fmla="*/ 0 w 210"/>
                  <a:gd name="T15" fmla="*/ 96 h 112"/>
                  <a:gd name="T16" fmla="*/ 84 w 210"/>
                  <a:gd name="T17" fmla="*/ 112 h 112"/>
                  <a:gd name="T18" fmla="*/ 210 w 210"/>
                  <a:gd name="T19" fmla="*/ 88 h 112"/>
                  <a:gd name="T20" fmla="*/ 193 w 210"/>
                  <a:gd name="T21" fmla="*/ 16 h 112"/>
                  <a:gd name="T22" fmla="*/ 168 w 210"/>
                  <a:gd name="T23" fmla="*/ 8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10" h="112">
                    <a:moveTo>
                      <a:pt x="168" y="8"/>
                    </a:moveTo>
                    <a:lnTo>
                      <a:pt x="109" y="8"/>
                    </a:lnTo>
                    <a:lnTo>
                      <a:pt x="76" y="0"/>
                    </a:lnTo>
                    <a:lnTo>
                      <a:pt x="67" y="24"/>
                    </a:lnTo>
                    <a:lnTo>
                      <a:pt x="42" y="32"/>
                    </a:lnTo>
                    <a:lnTo>
                      <a:pt x="8" y="48"/>
                    </a:lnTo>
                    <a:lnTo>
                      <a:pt x="8" y="72"/>
                    </a:lnTo>
                    <a:lnTo>
                      <a:pt x="0" y="96"/>
                    </a:lnTo>
                    <a:lnTo>
                      <a:pt x="84" y="112"/>
                    </a:lnTo>
                    <a:lnTo>
                      <a:pt x="210" y="88"/>
                    </a:lnTo>
                    <a:lnTo>
                      <a:pt x="193" y="16"/>
                    </a:lnTo>
                    <a:lnTo>
                      <a:pt x="168" y="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Freeform 88">
                <a:extLst>
                  <a:ext uri="{FF2B5EF4-FFF2-40B4-BE49-F238E27FC236}">
                    <a16:creationId xmlns:a16="http://schemas.microsoft.com/office/drawing/2014/main" id="{4B5EF36A-6B4E-C760-E6F0-AEED06001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7551" y="3236811"/>
                <a:ext cx="635209" cy="446740"/>
              </a:xfrm>
              <a:custGeom>
                <a:avLst/>
                <a:gdLst>
                  <a:gd name="T0" fmla="*/ 312 w 455"/>
                  <a:gd name="T1" fmla="*/ 304 h 320"/>
                  <a:gd name="T2" fmla="*/ 328 w 455"/>
                  <a:gd name="T3" fmla="*/ 296 h 320"/>
                  <a:gd name="T4" fmla="*/ 320 w 455"/>
                  <a:gd name="T5" fmla="*/ 272 h 320"/>
                  <a:gd name="T6" fmla="*/ 354 w 455"/>
                  <a:gd name="T7" fmla="*/ 264 h 320"/>
                  <a:gd name="T8" fmla="*/ 379 w 455"/>
                  <a:gd name="T9" fmla="*/ 248 h 320"/>
                  <a:gd name="T10" fmla="*/ 404 w 455"/>
                  <a:gd name="T11" fmla="*/ 256 h 320"/>
                  <a:gd name="T12" fmla="*/ 387 w 455"/>
                  <a:gd name="T13" fmla="*/ 224 h 320"/>
                  <a:gd name="T14" fmla="*/ 387 w 455"/>
                  <a:gd name="T15" fmla="*/ 192 h 320"/>
                  <a:gd name="T16" fmla="*/ 387 w 455"/>
                  <a:gd name="T17" fmla="*/ 160 h 320"/>
                  <a:gd name="T18" fmla="*/ 413 w 455"/>
                  <a:gd name="T19" fmla="*/ 152 h 320"/>
                  <a:gd name="T20" fmla="*/ 421 w 455"/>
                  <a:gd name="T21" fmla="*/ 128 h 320"/>
                  <a:gd name="T22" fmla="*/ 446 w 455"/>
                  <a:gd name="T23" fmla="*/ 120 h 320"/>
                  <a:gd name="T24" fmla="*/ 455 w 455"/>
                  <a:gd name="T25" fmla="*/ 104 h 320"/>
                  <a:gd name="T26" fmla="*/ 430 w 455"/>
                  <a:gd name="T27" fmla="*/ 96 h 320"/>
                  <a:gd name="T28" fmla="*/ 430 w 455"/>
                  <a:gd name="T29" fmla="*/ 64 h 320"/>
                  <a:gd name="T30" fmla="*/ 396 w 455"/>
                  <a:gd name="T31" fmla="*/ 56 h 320"/>
                  <a:gd name="T32" fmla="*/ 371 w 455"/>
                  <a:gd name="T33" fmla="*/ 40 h 320"/>
                  <a:gd name="T34" fmla="*/ 337 w 455"/>
                  <a:gd name="T35" fmla="*/ 24 h 320"/>
                  <a:gd name="T36" fmla="*/ 286 w 455"/>
                  <a:gd name="T37" fmla="*/ 16 h 320"/>
                  <a:gd name="T38" fmla="*/ 278 w 455"/>
                  <a:gd name="T39" fmla="*/ 0 h 320"/>
                  <a:gd name="T40" fmla="*/ 227 w 455"/>
                  <a:gd name="T41" fmla="*/ 32 h 320"/>
                  <a:gd name="T42" fmla="*/ 185 w 455"/>
                  <a:gd name="T43" fmla="*/ 24 h 320"/>
                  <a:gd name="T44" fmla="*/ 143 w 455"/>
                  <a:gd name="T45" fmla="*/ 32 h 320"/>
                  <a:gd name="T46" fmla="*/ 84 w 455"/>
                  <a:gd name="T47" fmla="*/ 32 h 320"/>
                  <a:gd name="T48" fmla="*/ 25 w 455"/>
                  <a:gd name="T49" fmla="*/ 64 h 320"/>
                  <a:gd name="T50" fmla="*/ 0 w 455"/>
                  <a:gd name="T51" fmla="*/ 88 h 320"/>
                  <a:gd name="T52" fmla="*/ 8 w 455"/>
                  <a:gd name="T53" fmla="*/ 104 h 320"/>
                  <a:gd name="T54" fmla="*/ 25 w 455"/>
                  <a:gd name="T55" fmla="*/ 168 h 320"/>
                  <a:gd name="T56" fmla="*/ 34 w 455"/>
                  <a:gd name="T57" fmla="*/ 184 h 320"/>
                  <a:gd name="T58" fmla="*/ 67 w 455"/>
                  <a:gd name="T59" fmla="*/ 192 h 320"/>
                  <a:gd name="T60" fmla="*/ 126 w 455"/>
                  <a:gd name="T61" fmla="*/ 192 h 320"/>
                  <a:gd name="T62" fmla="*/ 151 w 455"/>
                  <a:gd name="T63" fmla="*/ 200 h 320"/>
                  <a:gd name="T64" fmla="*/ 168 w 455"/>
                  <a:gd name="T65" fmla="*/ 272 h 320"/>
                  <a:gd name="T66" fmla="*/ 177 w 455"/>
                  <a:gd name="T67" fmla="*/ 272 h 320"/>
                  <a:gd name="T68" fmla="*/ 236 w 455"/>
                  <a:gd name="T69" fmla="*/ 296 h 320"/>
                  <a:gd name="T70" fmla="*/ 244 w 455"/>
                  <a:gd name="T71" fmla="*/ 320 h 320"/>
                  <a:gd name="T72" fmla="*/ 278 w 455"/>
                  <a:gd name="T73" fmla="*/ 296 h 320"/>
                  <a:gd name="T74" fmla="*/ 312 w 455"/>
                  <a:gd name="T75" fmla="*/ 304 h 32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55" h="320">
                    <a:moveTo>
                      <a:pt x="312" y="304"/>
                    </a:moveTo>
                    <a:lnTo>
                      <a:pt x="328" y="296"/>
                    </a:lnTo>
                    <a:lnTo>
                      <a:pt x="320" y="272"/>
                    </a:lnTo>
                    <a:lnTo>
                      <a:pt x="354" y="264"/>
                    </a:lnTo>
                    <a:lnTo>
                      <a:pt x="379" y="248"/>
                    </a:lnTo>
                    <a:lnTo>
                      <a:pt x="404" y="256"/>
                    </a:lnTo>
                    <a:lnTo>
                      <a:pt x="387" y="224"/>
                    </a:lnTo>
                    <a:lnTo>
                      <a:pt x="387" y="192"/>
                    </a:lnTo>
                    <a:lnTo>
                      <a:pt x="387" y="160"/>
                    </a:lnTo>
                    <a:lnTo>
                      <a:pt x="413" y="152"/>
                    </a:lnTo>
                    <a:lnTo>
                      <a:pt x="421" y="128"/>
                    </a:lnTo>
                    <a:lnTo>
                      <a:pt x="446" y="120"/>
                    </a:lnTo>
                    <a:lnTo>
                      <a:pt x="455" y="104"/>
                    </a:lnTo>
                    <a:lnTo>
                      <a:pt x="430" y="96"/>
                    </a:lnTo>
                    <a:lnTo>
                      <a:pt x="430" y="64"/>
                    </a:lnTo>
                    <a:lnTo>
                      <a:pt x="396" y="56"/>
                    </a:lnTo>
                    <a:lnTo>
                      <a:pt x="371" y="40"/>
                    </a:lnTo>
                    <a:lnTo>
                      <a:pt x="337" y="24"/>
                    </a:lnTo>
                    <a:lnTo>
                      <a:pt x="286" y="16"/>
                    </a:lnTo>
                    <a:lnTo>
                      <a:pt x="278" y="0"/>
                    </a:lnTo>
                    <a:lnTo>
                      <a:pt x="227" y="32"/>
                    </a:lnTo>
                    <a:lnTo>
                      <a:pt x="185" y="24"/>
                    </a:lnTo>
                    <a:lnTo>
                      <a:pt x="143" y="32"/>
                    </a:lnTo>
                    <a:lnTo>
                      <a:pt x="84" y="32"/>
                    </a:lnTo>
                    <a:lnTo>
                      <a:pt x="25" y="64"/>
                    </a:lnTo>
                    <a:lnTo>
                      <a:pt x="0" y="88"/>
                    </a:lnTo>
                    <a:lnTo>
                      <a:pt x="8" y="104"/>
                    </a:lnTo>
                    <a:lnTo>
                      <a:pt x="25" y="168"/>
                    </a:lnTo>
                    <a:lnTo>
                      <a:pt x="34" y="184"/>
                    </a:lnTo>
                    <a:lnTo>
                      <a:pt x="67" y="192"/>
                    </a:lnTo>
                    <a:lnTo>
                      <a:pt x="126" y="192"/>
                    </a:lnTo>
                    <a:lnTo>
                      <a:pt x="151" y="200"/>
                    </a:lnTo>
                    <a:lnTo>
                      <a:pt x="168" y="272"/>
                    </a:lnTo>
                    <a:lnTo>
                      <a:pt x="177" y="272"/>
                    </a:lnTo>
                    <a:lnTo>
                      <a:pt x="236" y="296"/>
                    </a:lnTo>
                    <a:lnTo>
                      <a:pt x="244" y="320"/>
                    </a:lnTo>
                    <a:lnTo>
                      <a:pt x="278" y="296"/>
                    </a:lnTo>
                    <a:lnTo>
                      <a:pt x="312" y="30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Freeform 90">
                <a:extLst>
                  <a:ext uri="{FF2B5EF4-FFF2-40B4-BE49-F238E27FC236}">
                    <a16:creationId xmlns:a16="http://schemas.microsoft.com/office/drawing/2014/main" id="{8E4C301A-EEDF-FA3E-C033-F9DAA88DB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7551" y="3225642"/>
                <a:ext cx="635209" cy="446740"/>
              </a:xfrm>
              <a:custGeom>
                <a:avLst/>
                <a:gdLst>
                  <a:gd name="T0" fmla="*/ 312 w 455"/>
                  <a:gd name="T1" fmla="*/ 304 h 320"/>
                  <a:gd name="T2" fmla="*/ 328 w 455"/>
                  <a:gd name="T3" fmla="*/ 296 h 320"/>
                  <a:gd name="T4" fmla="*/ 320 w 455"/>
                  <a:gd name="T5" fmla="*/ 272 h 320"/>
                  <a:gd name="T6" fmla="*/ 354 w 455"/>
                  <a:gd name="T7" fmla="*/ 264 h 320"/>
                  <a:gd name="T8" fmla="*/ 379 w 455"/>
                  <a:gd name="T9" fmla="*/ 248 h 320"/>
                  <a:gd name="T10" fmla="*/ 404 w 455"/>
                  <a:gd name="T11" fmla="*/ 256 h 320"/>
                  <a:gd name="T12" fmla="*/ 387 w 455"/>
                  <a:gd name="T13" fmla="*/ 224 h 320"/>
                  <a:gd name="T14" fmla="*/ 387 w 455"/>
                  <a:gd name="T15" fmla="*/ 192 h 320"/>
                  <a:gd name="T16" fmla="*/ 387 w 455"/>
                  <a:gd name="T17" fmla="*/ 160 h 320"/>
                  <a:gd name="T18" fmla="*/ 413 w 455"/>
                  <a:gd name="T19" fmla="*/ 152 h 320"/>
                  <a:gd name="T20" fmla="*/ 421 w 455"/>
                  <a:gd name="T21" fmla="*/ 128 h 320"/>
                  <a:gd name="T22" fmla="*/ 446 w 455"/>
                  <a:gd name="T23" fmla="*/ 120 h 320"/>
                  <a:gd name="T24" fmla="*/ 455 w 455"/>
                  <a:gd name="T25" fmla="*/ 104 h 320"/>
                  <a:gd name="T26" fmla="*/ 430 w 455"/>
                  <a:gd name="T27" fmla="*/ 96 h 320"/>
                  <a:gd name="T28" fmla="*/ 430 w 455"/>
                  <a:gd name="T29" fmla="*/ 64 h 320"/>
                  <a:gd name="T30" fmla="*/ 396 w 455"/>
                  <a:gd name="T31" fmla="*/ 56 h 320"/>
                  <a:gd name="T32" fmla="*/ 371 w 455"/>
                  <a:gd name="T33" fmla="*/ 40 h 320"/>
                  <a:gd name="T34" fmla="*/ 337 w 455"/>
                  <a:gd name="T35" fmla="*/ 24 h 320"/>
                  <a:gd name="T36" fmla="*/ 286 w 455"/>
                  <a:gd name="T37" fmla="*/ 16 h 320"/>
                  <a:gd name="T38" fmla="*/ 278 w 455"/>
                  <a:gd name="T39" fmla="*/ 0 h 320"/>
                  <a:gd name="T40" fmla="*/ 227 w 455"/>
                  <a:gd name="T41" fmla="*/ 32 h 320"/>
                  <a:gd name="T42" fmla="*/ 185 w 455"/>
                  <a:gd name="T43" fmla="*/ 24 h 320"/>
                  <a:gd name="T44" fmla="*/ 143 w 455"/>
                  <a:gd name="T45" fmla="*/ 32 h 320"/>
                  <a:gd name="T46" fmla="*/ 84 w 455"/>
                  <a:gd name="T47" fmla="*/ 32 h 320"/>
                  <a:gd name="T48" fmla="*/ 25 w 455"/>
                  <a:gd name="T49" fmla="*/ 64 h 320"/>
                  <a:gd name="T50" fmla="*/ 0 w 455"/>
                  <a:gd name="T51" fmla="*/ 88 h 320"/>
                  <a:gd name="T52" fmla="*/ 8 w 455"/>
                  <a:gd name="T53" fmla="*/ 104 h 320"/>
                  <a:gd name="T54" fmla="*/ 25 w 455"/>
                  <a:gd name="T55" fmla="*/ 168 h 320"/>
                  <a:gd name="T56" fmla="*/ 34 w 455"/>
                  <a:gd name="T57" fmla="*/ 184 h 320"/>
                  <a:gd name="T58" fmla="*/ 67 w 455"/>
                  <a:gd name="T59" fmla="*/ 192 h 320"/>
                  <a:gd name="T60" fmla="*/ 126 w 455"/>
                  <a:gd name="T61" fmla="*/ 192 h 320"/>
                  <a:gd name="T62" fmla="*/ 151 w 455"/>
                  <a:gd name="T63" fmla="*/ 200 h 320"/>
                  <a:gd name="T64" fmla="*/ 168 w 455"/>
                  <a:gd name="T65" fmla="*/ 272 h 320"/>
                  <a:gd name="T66" fmla="*/ 177 w 455"/>
                  <a:gd name="T67" fmla="*/ 272 h 320"/>
                  <a:gd name="T68" fmla="*/ 236 w 455"/>
                  <a:gd name="T69" fmla="*/ 296 h 320"/>
                  <a:gd name="T70" fmla="*/ 244 w 455"/>
                  <a:gd name="T71" fmla="*/ 320 h 320"/>
                  <a:gd name="T72" fmla="*/ 278 w 455"/>
                  <a:gd name="T73" fmla="*/ 296 h 320"/>
                  <a:gd name="T74" fmla="*/ 312 w 455"/>
                  <a:gd name="T75" fmla="*/ 304 h 32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55" h="320">
                    <a:moveTo>
                      <a:pt x="312" y="304"/>
                    </a:moveTo>
                    <a:lnTo>
                      <a:pt x="328" y="296"/>
                    </a:lnTo>
                    <a:lnTo>
                      <a:pt x="320" y="272"/>
                    </a:lnTo>
                    <a:lnTo>
                      <a:pt x="354" y="264"/>
                    </a:lnTo>
                    <a:lnTo>
                      <a:pt x="379" y="248"/>
                    </a:lnTo>
                    <a:lnTo>
                      <a:pt x="404" y="256"/>
                    </a:lnTo>
                    <a:lnTo>
                      <a:pt x="387" y="224"/>
                    </a:lnTo>
                    <a:lnTo>
                      <a:pt x="387" y="192"/>
                    </a:lnTo>
                    <a:lnTo>
                      <a:pt x="387" y="160"/>
                    </a:lnTo>
                    <a:lnTo>
                      <a:pt x="413" y="152"/>
                    </a:lnTo>
                    <a:lnTo>
                      <a:pt x="421" y="128"/>
                    </a:lnTo>
                    <a:lnTo>
                      <a:pt x="446" y="120"/>
                    </a:lnTo>
                    <a:lnTo>
                      <a:pt x="455" y="104"/>
                    </a:lnTo>
                    <a:lnTo>
                      <a:pt x="430" y="96"/>
                    </a:lnTo>
                    <a:lnTo>
                      <a:pt x="430" y="64"/>
                    </a:lnTo>
                    <a:lnTo>
                      <a:pt x="396" y="56"/>
                    </a:lnTo>
                    <a:lnTo>
                      <a:pt x="371" y="40"/>
                    </a:lnTo>
                    <a:lnTo>
                      <a:pt x="337" y="24"/>
                    </a:lnTo>
                    <a:lnTo>
                      <a:pt x="286" y="16"/>
                    </a:lnTo>
                    <a:lnTo>
                      <a:pt x="278" y="0"/>
                    </a:lnTo>
                    <a:lnTo>
                      <a:pt x="227" y="32"/>
                    </a:lnTo>
                    <a:lnTo>
                      <a:pt x="185" y="24"/>
                    </a:lnTo>
                    <a:lnTo>
                      <a:pt x="143" y="32"/>
                    </a:lnTo>
                    <a:lnTo>
                      <a:pt x="84" y="32"/>
                    </a:lnTo>
                    <a:lnTo>
                      <a:pt x="25" y="64"/>
                    </a:lnTo>
                    <a:lnTo>
                      <a:pt x="0" y="88"/>
                    </a:lnTo>
                    <a:lnTo>
                      <a:pt x="8" y="104"/>
                    </a:lnTo>
                    <a:lnTo>
                      <a:pt x="25" y="168"/>
                    </a:lnTo>
                    <a:lnTo>
                      <a:pt x="34" y="184"/>
                    </a:lnTo>
                    <a:lnTo>
                      <a:pt x="67" y="192"/>
                    </a:lnTo>
                    <a:lnTo>
                      <a:pt x="126" y="192"/>
                    </a:lnTo>
                    <a:lnTo>
                      <a:pt x="151" y="200"/>
                    </a:lnTo>
                    <a:lnTo>
                      <a:pt x="168" y="272"/>
                    </a:lnTo>
                    <a:lnTo>
                      <a:pt x="177" y="272"/>
                    </a:lnTo>
                    <a:lnTo>
                      <a:pt x="236" y="296"/>
                    </a:lnTo>
                    <a:lnTo>
                      <a:pt x="244" y="320"/>
                    </a:lnTo>
                    <a:lnTo>
                      <a:pt x="278" y="296"/>
                    </a:lnTo>
                    <a:lnTo>
                      <a:pt x="312" y="30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Freeform 92">
                <a:extLst>
                  <a:ext uri="{FF2B5EF4-FFF2-40B4-BE49-F238E27FC236}">
                    <a16:creationId xmlns:a16="http://schemas.microsoft.com/office/drawing/2014/main" id="{8D0507B7-E665-4B08-3C52-CF826161A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8191" y="3203305"/>
                <a:ext cx="1012147" cy="837638"/>
              </a:xfrm>
              <a:custGeom>
                <a:avLst/>
                <a:gdLst>
                  <a:gd name="T0" fmla="*/ 657 w 725"/>
                  <a:gd name="T1" fmla="*/ 320 h 600"/>
                  <a:gd name="T2" fmla="*/ 641 w 725"/>
                  <a:gd name="T3" fmla="*/ 280 h 600"/>
                  <a:gd name="T4" fmla="*/ 708 w 725"/>
                  <a:gd name="T5" fmla="*/ 256 h 600"/>
                  <a:gd name="T6" fmla="*/ 700 w 725"/>
                  <a:gd name="T7" fmla="*/ 208 h 600"/>
                  <a:gd name="T8" fmla="*/ 624 w 725"/>
                  <a:gd name="T9" fmla="*/ 168 h 600"/>
                  <a:gd name="T10" fmla="*/ 548 w 725"/>
                  <a:gd name="T11" fmla="*/ 136 h 600"/>
                  <a:gd name="T12" fmla="*/ 514 w 725"/>
                  <a:gd name="T13" fmla="*/ 104 h 600"/>
                  <a:gd name="T14" fmla="*/ 506 w 725"/>
                  <a:gd name="T15" fmla="*/ 40 h 600"/>
                  <a:gd name="T16" fmla="*/ 438 w 725"/>
                  <a:gd name="T17" fmla="*/ 8 h 600"/>
                  <a:gd name="T18" fmla="*/ 379 w 725"/>
                  <a:gd name="T19" fmla="*/ 16 h 600"/>
                  <a:gd name="T20" fmla="*/ 329 w 725"/>
                  <a:gd name="T21" fmla="*/ 16 h 600"/>
                  <a:gd name="T22" fmla="*/ 278 w 725"/>
                  <a:gd name="T23" fmla="*/ 0 h 600"/>
                  <a:gd name="T24" fmla="*/ 202 w 725"/>
                  <a:gd name="T25" fmla="*/ 64 h 600"/>
                  <a:gd name="T26" fmla="*/ 186 w 725"/>
                  <a:gd name="T27" fmla="*/ 88 h 600"/>
                  <a:gd name="T28" fmla="*/ 211 w 725"/>
                  <a:gd name="T29" fmla="*/ 128 h 600"/>
                  <a:gd name="T30" fmla="*/ 177 w 725"/>
                  <a:gd name="T31" fmla="*/ 152 h 600"/>
                  <a:gd name="T32" fmla="*/ 143 w 725"/>
                  <a:gd name="T33" fmla="*/ 184 h 600"/>
                  <a:gd name="T34" fmla="*/ 143 w 725"/>
                  <a:gd name="T35" fmla="*/ 248 h 600"/>
                  <a:gd name="T36" fmla="*/ 135 w 725"/>
                  <a:gd name="T37" fmla="*/ 272 h 600"/>
                  <a:gd name="T38" fmla="*/ 76 w 725"/>
                  <a:gd name="T39" fmla="*/ 296 h 600"/>
                  <a:gd name="T40" fmla="*/ 68 w 725"/>
                  <a:gd name="T41" fmla="*/ 328 h 600"/>
                  <a:gd name="T42" fmla="*/ 0 w 725"/>
                  <a:gd name="T43" fmla="*/ 344 h 600"/>
                  <a:gd name="T44" fmla="*/ 59 w 725"/>
                  <a:gd name="T45" fmla="*/ 464 h 600"/>
                  <a:gd name="T46" fmla="*/ 17 w 725"/>
                  <a:gd name="T47" fmla="*/ 536 h 600"/>
                  <a:gd name="T48" fmla="*/ 59 w 725"/>
                  <a:gd name="T49" fmla="*/ 600 h 600"/>
                  <a:gd name="T50" fmla="*/ 110 w 725"/>
                  <a:gd name="T51" fmla="*/ 576 h 600"/>
                  <a:gd name="T52" fmla="*/ 211 w 725"/>
                  <a:gd name="T53" fmla="*/ 544 h 600"/>
                  <a:gd name="T54" fmla="*/ 362 w 725"/>
                  <a:gd name="T55" fmla="*/ 528 h 600"/>
                  <a:gd name="T56" fmla="*/ 421 w 725"/>
                  <a:gd name="T57" fmla="*/ 528 h 600"/>
                  <a:gd name="T58" fmla="*/ 489 w 725"/>
                  <a:gd name="T59" fmla="*/ 544 h 600"/>
                  <a:gd name="T60" fmla="*/ 539 w 725"/>
                  <a:gd name="T61" fmla="*/ 528 h 600"/>
                  <a:gd name="T62" fmla="*/ 632 w 725"/>
                  <a:gd name="T63" fmla="*/ 520 h 600"/>
                  <a:gd name="T64" fmla="*/ 641 w 725"/>
                  <a:gd name="T65" fmla="*/ 424 h 600"/>
                  <a:gd name="T66" fmla="*/ 674 w 725"/>
                  <a:gd name="T67" fmla="*/ 368 h 60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725" h="600">
                    <a:moveTo>
                      <a:pt x="657" y="344"/>
                    </a:moveTo>
                    <a:lnTo>
                      <a:pt x="657" y="320"/>
                    </a:lnTo>
                    <a:lnTo>
                      <a:pt x="632" y="304"/>
                    </a:lnTo>
                    <a:lnTo>
                      <a:pt x="641" y="280"/>
                    </a:lnTo>
                    <a:lnTo>
                      <a:pt x="691" y="272"/>
                    </a:lnTo>
                    <a:lnTo>
                      <a:pt x="708" y="256"/>
                    </a:lnTo>
                    <a:lnTo>
                      <a:pt x="725" y="232"/>
                    </a:lnTo>
                    <a:lnTo>
                      <a:pt x="700" y="208"/>
                    </a:lnTo>
                    <a:lnTo>
                      <a:pt x="632" y="192"/>
                    </a:lnTo>
                    <a:lnTo>
                      <a:pt x="624" y="168"/>
                    </a:lnTo>
                    <a:lnTo>
                      <a:pt x="582" y="160"/>
                    </a:lnTo>
                    <a:lnTo>
                      <a:pt x="548" y="136"/>
                    </a:lnTo>
                    <a:lnTo>
                      <a:pt x="548" y="120"/>
                    </a:lnTo>
                    <a:lnTo>
                      <a:pt x="514" y="104"/>
                    </a:lnTo>
                    <a:lnTo>
                      <a:pt x="514" y="72"/>
                    </a:lnTo>
                    <a:lnTo>
                      <a:pt x="506" y="40"/>
                    </a:lnTo>
                    <a:lnTo>
                      <a:pt x="472" y="16"/>
                    </a:lnTo>
                    <a:lnTo>
                      <a:pt x="438" y="8"/>
                    </a:lnTo>
                    <a:lnTo>
                      <a:pt x="396" y="32"/>
                    </a:lnTo>
                    <a:lnTo>
                      <a:pt x="379" y="16"/>
                    </a:lnTo>
                    <a:lnTo>
                      <a:pt x="346" y="8"/>
                    </a:lnTo>
                    <a:lnTo>
                      <a:pt x="329" y="16"/>
                    </a:lnTo>
                    <a:lnTo>
                      <a:pt x="303" y="0"/>
                    </a:lnTo>
                    <a:lnTo>
                      <a:pt x="278" y="0"/>
                    </a:lnTo>
                    <a:lnTo>
                      <a:pt x="245" y="64"/>
                    </a:lnTo>
                    <a:lnTo>
                      <a:pt x="202" y="64"/>
                    </a:lnTo>
                    <a:lnTo>
                      <a:pt x="177" y="80"/>
                    </a:lnTo>
                    <a:lnTo>
                      <a:pt x="186" y="88"/>
                    </a:lnTo>
                    <a:lnTo>
                      <a:pt x="186" y="120"/>
                    </a:lnTo>
                    <a:lnTo>
                      <a:pt x="211" y="128"/>
                    </a:lnTo>
                    <a:lnTo>
                      <a:pt x="202" y="144"/>
                    </a:lnTo>
                    <a:lnTo>
                      <a:pt x="177" y="152"/>
                    </a:lnTo>
                    <a:lnTo>
                      <a:pt x="169" y="176"/>
                    </a:lnTo>
                    <a:lnTo>
                      <a:pt x="143" y="184"/>
                    </a:lnTo>
                    <a:lnTo>
                      <a:pt x="143" y="216"/>
                    </a:lnTo>
                    <a:lnTo>
                      <a:pt x="143" y="248"/>
                    </a:lnTo>
                    <a:lnTo>
                      <a:pt x="160" y="280"/>
                    </a:lnTo>
                    <a:lnTo>
                      <a:pt x="135" y="272"/>
                    </a:lnTo>
                    <a:lnTo>
                      <a:pt x="110" y="288"/>
                    </a:lnTo>
                    <a:lnTo>
                      <a:pt x="76" y="296"/>
                    </a:lnTo>
                    <a:lnTo>
                      <a:pt x="84" y="320"/>
                    </a:lnTo>
                    <a:lnTo>
                      <a:pt x="68" y="328"/>
                    </a:lnTo>
                    <a:lnTo>
                      <a:pt x="34" y="320"/>
                    </a:lnTo>
                    <a:lnTo>
                      <a:pt x="0" y="344"/>
                    </a:lnTo>
                    <a:lnTo>
                      <a:pt x="17" y="384"/>
                    </a:lnTo>
                    <a:lnTo>
                      <a:pt x="59" y="464"/>
                    </a:lnTo>
                    <a:lnTo>
                      <a:pt x="17" y="512"/>
                    </a:lnTo>
                    <a:lnTo>
                      <a:pt x="17" y="536"/>
                    </a:lnTo>
                    <a:lnTo>
                      <a:pt x="51" y="544"/>
                    </a:lnTo>
                    <a:lnTo>
                      <a:pt x="59" y="600"/>
                    </a:lnTo>
                    <a:lnTo>
                      <a:pt x="93" y="600"/>
                    </a:lnTo>
                    <a:lnTo>
                      <a:pt x="110" y="576"/>
                    </a:lnTo>
                    <a:lnTo>
                      <a:pt x="152" y="552"/>
                    </a:lnTo>
                    <a:lnTo>
                      <a:pt x="211" y="544"/>
                    </a:lnTo>
                    <a:lnTo>
                      <a:pt x="303" y="536"/>
                    </a:lnTo>
                    <a:lnTo>
                      <a:pt x="362" y="528"/>
                    </a:lnTo>
                    <a:lnTo>
                      <a:pt x="396" y="552"/>
                    </a:lnTo>
                    <a:lnTo>
                      <a:pt x="421" y="528"/>
                    </a:lnTo>
                    <a:lnTo>
                      <a:pt x="455" y="528"/>
                    </a:lnTo>
                    <a:lnTo>
                      <a:pt x="489" y="544"/>
                    </a:lnTo>
                    <a:lnTo>
                      <a:pt x="514" y="512"/>
                    </a:lnTo>
                    <a:lnTo>
                      <a:pt x="539" y="528"/>
                    </a:lnTo>
                    <a:lnTo>
                      <a:pt x="582" y="504"/>
                    </a:lnTo>
                    <a:lnTo>
                      <a:pt x="632" y="520"/>
                    </a:lnTo>
                    <a:lnTo>
                      <a:pt x="624" y="488"/>
                    </a:lnTo>
                    <a:lnTo>
                      <a:pt x="641" y="424"/>
                    </a:lnTo>
                    <a:lnTo>
                      <a:pt x="700" y="400"/>
                    </a:lnTo>
                    <a:lnTo>
                      <a:pt x="674" y="368"/>
                    </a:lnTo>
                    <a:lnTo>
                      <a:pt x="657" y="34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Freeform 93">
                <a:extLst>
                  <a:ext uri="{FF2B5EF4-FFF2-40B4-BE49-F238E27FC236}">
                    <a16:creationId xmlns:a16="http://schemas.microsoft.com/office/drawing/2014/main" id="{7D6BC7B1-F902-1033-D77D-875507F30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4986" y="2968766"/>
                <a:ext cx="741311" cy="390898"/>
              </a:xfrm>
              <a:custGeom>
                <a:avLst/>
                <a:gdLst>
                  <a:gd name="T0" fmla="*/ 472 w 531"/>
                  <a:gd name="T1" fmla="*/ 80 h 280"/>
                  <a:gd name="T2" fmla="*/ 464 w 531"/>
                  <a:gd name="T3" fmla="*/ 40 h 280"/>
                  <a:gd name="T4" fmla="*/ 413 w 531"/>
                  <a:gd name="T5" fmla="*/ 32 h 280"/>
                  <a:gd name="T6" fmla="*/ 371 w 531"/>
                  <a:gd name="T7" fmla="*/ 40 h 280"/>
                  <a:gd name="T8" fmla="*/ 304 w 531"/>
                  <a:gd name="T9" fmla="*/ 0 h 280"/>
                  <a:gd name="T10" fmla="*/ 262 w 531"/>
                  <a:gd name="T11" fmla="*/ 0 h 280"/>
                  <a:gd name="T12" fmla="*/ 211 w 531"/>
                  <a:gd name="T13" fmla="*/ 32 h 280"/>
                  <a:gd name="T14" fmla="*/ 211 w 531"/>
                  <a:gd name="T15" fmla="*/ 40 h 280"/>
                  <a:gd name="T16" fmla="*/ 219 w 531"/>
                  <a:gd name="T17" fmla="*/ 72 h 280"/>
                  <a:gd name="T18" fmla="*/ 219 w 531"/>
                  <a:gd name="T19" fmla="*/ 104 h 280"/>
                  <a:gd name="T20" fmla="*/ 211 w 531"/>
                  <a:gd name="T21" fmla="*/ 128 h 280"/>
                  <a:gd name="T22" fmla="*/ 194 w 531"/>
                  <a:gd name="T23" fmla="*/ 128 h 280"/>
                  <a:gd name="T24" fmla="*/ 160 w 531"/>
                  <a:gd name="T25" fmla="*/ 128 h 280"/>
                  <a:gd name="T26" fmla="*/ 110 w 531"/>
                  <a:gd name="T27" fmla="*/ 80 h 280"/>
                  <a:gd name="T28" fmla="*/ 76 w 531"/>
                  <a:gd name="T29" fmla="*/ 64 h 280"/>
                  <a:gd name="T30" fmla="*/ 43 w 531"/>
                  <a:gd name="T31" fmla="*/ 88 h 280"/>
                  <a:gd name="T32" fmla="*/ 17 w 531"/>
                  <a:gd name="T33" fmla="*/ 160 h 280"/>
                  <a:gd name="T34" fmla="*/ 0 w 531"/>
                  <a:gd name="T35" fmla="*/ 192 h 280"/>
                  <a:gd name="T36" fmla="*/ 0 w 531"/>
                  <a:gd name="T37" fmla="*/ 224 h 280"/>
                  <a:gd name="T38" fmla="*/ 9 w 531"/>
                  <a:gd name="T39" fmla="*/ 280 h 280"/>
                  <a:gd name="T40" fmla="*/ 34 w 531"/>
                  <a:gd name="T41" fmla="*/ 256 h 280"/>
                  <a:gd name="T42" fmla="*/ 93 w 531"/>
                  <a:gd name="T43" fmla="*/ 224 h 280"/>
                  <a:gd name="T44" fmla="*/ 152 w 531"/>
                  <a:gd name="T45" fmla="*/ 224 h 280"/>
                  <a:gd name="T46" fmla="*/ 194 w 531"/>
                  <a:gd name="T47" fmla="*/ 216 h 280"/>
                  <a:gd name="T48" fmla="*/ 236 w 531"/>
                  <a:gd name="T49" fmla="*/ 224 h 280"/>
                  <a:gd name="T50" fmla="*/ 287 w 531"/>
                  <a:gd name="T51" fmla="*/ 192 h 280"/>
                  <a:gd name="T52" fmla="*/ 295 w 531"/>
                  <a:gd name="T53" fmla="*/ 208 h 280"/>
                  <a:gd name="T54" fmla="*/ 346 w 531"/>
                  <a:gd name="T55" fmla="*/ 216 h 280"/>
                  <a:gd name="T56" fmla="*/ 380 w 531"/>
                  <a:gd name="T57" fmla="*/ 232 h 280"/>
                  <a:gd name="T58" fmla="*/ 405 w 531"/>
                  <a:gd name="T59" fmla="*/ 248 h 280"/>
                  <a:gd name="T60" fmla="*/ 430 w 531"/>
                  <a:gd name="T61" fmla="*/ 248 h 280"/>
                  <a:gd name="T62" fmla="*/ 455 w 531"/>
                  <a:gd name="T63" fmla="*/ 232 h 280"/>
                  <a:gd name="T64" fmla="*/ 498 w 531"/>
                  <a:gd name="T65" fmla="*/ 232 h 280"/>
                  <a:gd name="T66" fmla="*/ 531 w 531"/>
                  <a:gd name="T67" fmla="*/ 176 h 280"/>
                  <a:gd name="T68" fmla="*/ 506 w 531"/>
                  <a:gd name="T69" fmla="*/ 112 h 280"/>
                  <a:gd name="T70" fmla="*/ 472 w 531"/>
                  <a:gd name="T71" fmla="*/ 80 h 28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31" h="280">
                    <a:moveTo>
                      <a:pt x="472" y="80"/>
                    </a:moveTo>
                    <a:lnTo>
                      <a:pt x="464" y="40"/>
                    </a:lnTo>
                    <a:lnTo>
                      <a:pt x="413" y="32"/>
                    </a:lnTo>
                    <a:lnTo>
                      <a:pt x="371" y="40"/>
                    </a:lnTo>
                    <a:lnTo>
                      <a:pt x="304" y="0"/>
                    </a:lnTo>
                    <a:lnTo>
                      <a:pt x="262" y="0"/>
                    </a:lnTo>
                    <a:lnTo>
                      <a:pt x="211" y="32"/>
                    </a:lnTo>
                    <a:lnTo>
                      <a:pt x="211" y="40"/>
                    </a:lnTo>
                    <a:lnTo>
                      <a:pt x="219" y="72"/>
                    </a:lnTo>
                    <a:lnTo>
                      <a:pt x="219" y="104"/>
                    </a:lnTo>
                    <a:lnTo>
                      <a:pt x="211" y="128"/>
                    </a:lnTo>
                    <a:lnTo>
                      <a:pt x="194" y="128"/>
                    </a:lnTo>
                    <a:lnTo>
                      <a:pt x="160" y="128"/>
                    </a:lnTo>
                    <a:lnTo>
                      <a:pt x="110" y="80"/>
                    </a:lnTo>
                    <a:lnTo>
                      <a:pt x="76" y="64"/>
                    </a:lnTo>
                    <a:lnTo>
                      <a:pt x="43" y="88"/>
                    </a:lnTo>
                    <a:lnTo>
                      <a:pt x="17" y="160"/>
                    </a:lnTo>
                    <a:lnTo>
                      <a:pt x="0" y="192"/>
                    </a:lnTo>
                    <a:lnTo>
                      <a:pt x="0" y="224"/>
                    </a:lnTo>
                    <a:lnTo>
                      <a:pt x="9" y="280"/>
                    </a:lnTo>
                    <a:lnTo>
                      <a:pt x="34" y="256"/>
                    </a:lnTo>
                    <a:lnTo>
                      <a:pt x="93" y="224"/>
                    </a:lnTo>
                    <a:lnTo>
                      <a:pt x="152" y="224"/>
                    </a:lnTo>
                    <a:lnTo>
                      <a:pt x="194" y="216"/>
                    </a:lnTo>
                    <a:lnTo>
                      <a:pt x="236" y="224"/>
                    </a:lnTo>
                    <a:lnTo>
                      <a:pt x="287" y="192"/>
                    </a:lnTo>
                    <a:lnTo>
                      <a:pt x="295" y="208"/>
                    </a:lnTo>
                    <a:lnTo>
                      <a:pt x="346" y="216"/>
                    </a:lnTo>
                    <a:lnTo>
                      <a:pt x="380" y="232"/>
                    </a:lnTo>
                    <a:lnTo>
                      <a:pt x="405" y="248"/>
                    </a:lnTo>
                    <a:lnTo>
                      <a:pt x="430" y="248"/>
                    </a:lnTo>
                    <a:lnTo>
                      <a:pt x="455" y="232"/>
                    </a:lnTo>
                    <a:lnTo>
                      <a:pt x="498" y="232"/>
                    </a:lnTo>
                    <a:lnTo>
                      <a:pt x="531" y="176"/>
                    </a:lnTo>
                    <a:lnTo>
                      <a:pt x="506" y="112"/>
                    </a:lnTo>
                    <a:lnTo>
                      <a:pt x="472" y="8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Freeform 94">
                <a:extLst>
                  <a:ext uri="{FF2B5EF4-FFF2-40B4-BE49-F238E27FC236}">
                    <a16:creationId xmlns:a16="http://schemas.microsoft.com/office/drawing/2014/main" id="{5CD63F2C-FF6A-E872-1F5E-B155CB798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8191" y="3192136"/>
                <a:ext cx="1012147" cy="837638"/>
              </a:xfrm>
              <a:custGeom>
                <a:avLst/>
                <a:gdLst>
                  <a:gd name="T0" fmla="*/ 657 w 725"/>
                  <a:gd name="T1" fmla="*/ 320 h 600"/>
                  <a:gd name="T2" fmla="*/ 641 w 725"/>
                  <a:gd name="T3" fmla="*/ 280 h 600"/>
                  <a:gd name="T4" fmla="*/ 708 w 725"/>
                  <a:gd name="T5" fmla="*/ 256 h 600"/>
                  <a:gd name="T6" fmla="*/ 700 w 725"/>
                  <a:gd name="T7" fmla="*/ 208 h 600"/>
                  <a:gd name="T8" fmla="*/ 624 w 725"/>
                  <a:gd name="T9" fmla="*/ 168 h 600"/>
                  <a:gd name="T10" fmla="*/ 548 w 725"/>
                  <a:gd name="T11" fmla="*/ 136 h 600"/>
                  <a:gd name="T12" fmla="*/ 514 w 725"/>
                  <a:gd name="T13" fmla="*/ 104 h 600"/>
                  <a:gd name="T14" fmla="*/ 506 w 725"/>
                  <a:gd name="T15" fmla="*/ 40 h 600"/>
                  <a:gd name="T16" fmla="*/ 438 w 725"/>
                  <a:gd name="T17" fmla="*/ 8 h 600"/>
                  <a:gd name="T18" fmla="*/ 379 w 725"/>
                  <a:gd name="T19" fmla="*/ 16 h 600"/>
                  <a:gd name="T20" fmla="*/ 329 w 725"/>
                  <a:gd name="T21" fmla="*/ 16 h 600"/>
                  <a:gd name="T22" fmla="*/ 278 w 725"/>
                  <a:gd name="T23" fmla="*/ 0 h 600"/>
                  <a:gd name="T24" fmla="*/ 202 w 725"/>
                  <a:gd name="T25" fmla="*/ 64 h 600"/>
                  <a:gd name="T26" fmla="*/ 186 w 725"/>
                  <a:gd name="T27" fmla="*/ 88 h 600"/>
                  <a:gd name="T28" fmla="*/ 211 w 725"/>
                  <a:gd name="T29" fmla="*/ 128 h 600"/>
                  <a:gd name="T30" fmla="*/ 177 w 725"/>
                  <a:gd name="T31" fmla="*/ 152 h 600"/>
                  <a:gd name="T32" fmla="*/ 143 w 725"/>
                  <a:gd name="T33" fmla="*/ 184 h 600"/>
                  <a:gd name="T34" fmla="*/ 143 w 725"/>
                  <a:gd name="T35" fmla="*/ 248 h 600"/>
                  <a:gd name="T36" fmla="*/ 135 w 725"/>
                  <a:gd name="T37" fmla="*/ 272 h 600"/>
                  <a:gd name="T38" fmla="*/ 76 w 725"/>
                  <a:gd name="T39" fmla="*/ 296 h 600"/>
                  <a:gd name="T40" fmla="*/ 68 w 725"/>
                  <a:gd name="T41" fmla="*/ 328 h 600"/>
                  <a:gd name="T42" fmla="*/ 0 w 725"/>
                  <a:gd name="T43" fmla="*/ 344 h 600"/>
                  <a:gd name="T44" fmla="*/ 59 w 725"/>
                  <a:gd name="T45" fmla="*/ 464 h 600"/>
                  <a:gd name="T46" fmla="*/ 17 w 725"/>
                  <a:gd name="T47" fmla="*/ 536 h 600"/>
                  <a:gd name="T48" fmla="*/ 59 w 725"/>
                  <a:gd name="T49" fmla="*/ 600 h 600"/>
                  <a:gd name="T50" fmla="*/ 93 w 725"/>
                  <a:gd name="T51" fmla="*/ 600 h 600"/>
                  <a:gd name="T52" fmla="*/ 152 w 725"/>
                  <a:gd name="T53" fmla="*/ 552 h 600"/>
                  <a:gd name="T54" fmla="*/ 303 w 725"/>
                  <a:gd name="T55" fmla="*/ 536 h 600"/>
                  <a:gd name="T56" fmla="*/ 396 w 725"/>
                  <a:gd name="T57" fmla="*/ 552 h 600"/>
                  <a:gd name="T58" fmla="*/ 455 w 725"/>
                  <a:gd name="T59" fmla="*/ 528 h 600"/>
                  <a:gd name="T60" fmla="*/ 514 w 725"/>
                  <a:gd name="T61" fmla="*/ 512 h 600"/>
                  <a:gd name="T62" fmla="*/ 582 w 725"/>
                  <a:gd name="T63" fmla="*/ 504 h 600"/>
                  <a:gd name="T64" fmla="*/ 624 w 725"/>
                  <a:gd name="T65" fmla="*/ 488 h 600"/>
                  <a:gd name="T66" fmla="*/ 700 w 725"/>
                  <a:gd name="T67" fmla="*/ 400 h 600"/>
                  <a:gd name="T68" fmla="*/ 657 w 725"/>
                  <a:gd name="T69" fmla="*/ 344 h 60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725" h="600">
                    <a:moveTo>
                      <a:pt x="657" y="344"/>
                    </a:moveTo>
                    <a:lnTo>
                      <a:pt x="657" y="320"/>
                    </a:lnTo>
                    <a:lnTo>
                      <a:pt x="632" y="304"/>
                    </a:lnTo>
                    <a:lnTo>
                      <a:pt x="641" y="280"/>
                    </a:lnTo>
                    <a:lnTo>
                      <a:pt x="691" y="272"/>
                    </a:lnTo>
                    <a:lnTo>
                      <a:pt x="708" y="256"/>
                    </a:lnTo>
                    <a:lnTo>
                      <a:pt x="725" y="232"/>
                    </a:lnTo>
                    <a:lnTo>
                      <a:pt x="700" y="208"/>
                    </a:lnTo>
                    <a:lnTo>
                      <a:pt x="632" y="192"/>
                    </a:lnTo>
                    <a:lnTo>
                      <a:pt x="624" y="168"/>
                    </a:lnTo>
                    <a:lnTo>
                      <a:pt x="582" y="160"/>
                    </a:lnTo>
                    <a:lnTo>
                      <a:pt x="548" y="136"/>
                    </a:lnTo>
                    <a:lnTo>
                      <a:pt x="548" y="120"/>
                    </a:lnTo>
                    <a:lnTo>
                      <a:pt x="514" y="104"/>
                    </a:lnTo>
                    <a:lnTo>
                      <a:pt x="514" y="72"/>
                    </a:lnTo>
                    <a:lnTo>
                      <a:pt x="506" y="40"/>
                    </a:lnTo>
                    <a:lnTo>
                      <a:pt x="472" y="16"/>
                    </a:lnTo>
                    <a:lnTo>
                      <a:pt x="438" y="8"/>
                    </a:lnTo>
                    <a:lnTo>
                      <a:pt x="396" y="32"/>
                    </a:lnTo>
                    <a:lnTo>
                      <a:pt x="379" y="16"/>
                    </a:lnTo>
                    <a:lnTo>
                      <a:pt x="346" y="8"/>
                    </a:lnTo>
                    <a:lnTo>
                      <a:pt x="329" y="16"/>
                    </a:lnTo>
                    <a:lnTo>
                      <a:pt x="303" y="0"/>
                    </a:lnTo>
                    <a:lnTo>
                      <a:pt x="278" y="0"/>
                    </a:lnTo>
                    <a:lnTo>
                      <a:pt x="245" y="64"/>
                    </a:lnTo>
                    <a:lnTo>
                      <a:pt x="202" y="64"/>
                    </a:lnTo>
                    <a:lnTo>
                      <a:pt x="177" y="80"/>
                    </a:lnTo>
                    <a:lnTo>
                      <a:pt x="186" y="88"/>
                    </a:lnTo>
                    <a:lnTo>
                      <a:pt x="186" y="120"/>
                    </a:lnTo>
                    <a:lnTo>
                      <a:pt x="211" y="128"/>
                    </a:lnTo>
                    <a:lnTo>
                      <a:pt x="202" y="144"/>
                    </a:lnTo>
                    <a:lnTo>
                      <a:pt x="177" y="152"/>
                    </a:lnTo>
                    <a:lnTo>
                      <a:pt x="169" y="176"/>
                    </a:lnTo>
                    <a:lnTo>
                      <a:pt x="143" y="184"/>
                    </a:lnTo>
                    <a:lnTo>
                      <a:pt x="143" y="216"/>
                    </a:lnTo>
                    <a:lnTo>
                      <a:pt x="143" y="248"/>
                    </a:lnTo>
                    <a:lnTo>
                      <a:pt x="160" y="280"/>
                    </a:lnTo>
                    <a:lnTo>
                      <a:pt x="135" y="272"/>
                    </a:lnTo>
                    <a:lnTo>
                      <a:pt x="110" y="288"/>
                    </a:lnTo>
                    <a:lnTo>
                      <a:pt x="76" y="296"/>
                    </a:lnTo>
                    <a:lnTo>
                      <a:pt x="84" y="320"/>
                    </a:lnTo>
                    <a:lnTo>
                      <a:pt x="68" y="328"/>
                    </a:lnTo>
                    <a:lnTo>
                      <a:pt x="34" y="320"/>
                    </a:lnTo>
                    <a:lnTo>
                      <a:pt x="0" y="344"/>
                    </a:lnTo>
                    <a:lnTo>
                      <a:pt x="17" y="384"/>
                    </a:lnTo>
                    <a:lnTo>
                      <a:pt x="59" y="464"/>
                    </a:lnTo>
                    <a:lnTo>
                      <a:pt x="17" y="512"/>
                    </a:lnTo>
                    <a:lnTo>
                      <a:pt x="17" y="536"/>
                    </a:lnTo>
                    <a:lnTo>
                      <a:pt x="51" y="544"/>
                    </a:lnTo>
                    <a:lnTo>
                      <a:pt x="59" y="600"/>
                    </a:lnTo>
                    <a:lnTo>
                      <a:pt x="93" y="600"/>
                    </a:lnTo>
                    <a:lnTo>
                      <a:pt x="110" y="576"/>
                    </a:lnTo>
                    <a:lnTo>
                      <a:pt x="152" y="552"/>
                    </a:lnTo>
                    <a:lnTo>
                      <a:pt x="211" y="544"/>
                    </a:lnTo>
                    <a:lnTo>
                      <a:pt x="303" y="536"/>
                    </a:lnTo>
                    <a:lnTo>
                      <a:pt x="362" y="528"/>
                    </a:lnTo>
                    <a:lnTo>
                      <a:pt x="396" y="552"/>
                    </a:lnTo>
                    <a:lnTo>
                      <a:pt x="421" y="528"/>
                    </a:lnTo>
                    <a:lnTo>
                      <a:pt x="455" y="528"/>
                    </a:lnTo>
                    <a:lnTo>
                      <a:pt x="489" y="544"/>
                    </a:lnTo>
                    <a:lnTo>
                      <a:pt x="514" y="512"/>
                    </a:lnTo>
                    <a:lnTo>
                      <a:pt x="539" y="528"/>
                    </a:lnTo>
                    <a:lnTo>
                      <a:pt x="582" y="504"/>
                    </a:lnTo>
                    <a:lnTo>
                      <a:pt x="632" y="520"/>
                    </a:lnTo>
                    <a:lnTo>
                      <a:pt x="624" y="488"/>
                    </a:lnTo>
                    <a:lnTo>
                      <a:pt x="641" y="424"/>
                    </a:lnTo>
                    <a:lnTo>
                      <a:pt x="700" y="400"/>
                    </a:lnTo>
                    <a:lnTo>
                      <a:pt x="674" y="368"/>
                    </a:lnTo>
                    <a:lnTo>
                      <a:pt x="657" y="34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Freeform 95">
                <a:extLst>
                  <a:ext uri="{FF2B5EF4-FFF2-40B4-BE49-F238E27FC236}">
                    <a16:creationId xmlns:a16="http://schemas.microsoft.com/office/drawing/2014/main" id="{31DF3B81-DE35-8264-1277-AB664BE2C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4986" y="2957597"/>
                <a:ext cx="741311" cy="390898"/>
              </a:xfrm>
              <a:custGeom>
                <a:avLst/>
                <a:gdLst>
                  <a:gd name="T0" fmla="*/ 472 w 531"/>
                  <a:gd name="T1" fmla="*/ 80 h 280"/>
                  <a:gd name="T2" fmla="*/ 464 w 531"/>
                  <a:gd name="T3" fmla="*/ 40 h 280"/>
                  <a:gd name="T4" fmla="*/ 413 w 531"/>
                  <a:gd name="T5" fmla="*/ 32 h 280"/>
                  <a:gd name="T6" fmla="*/ 371 w 531"/>
                  <a:gd name="T7" fmla="*/ 40 h 280"/>
                  <a:gd name="T8" fmla="*/ 304 w 531"/>
                  <a:gd name="T9" fmla="*/ 0 h 280"/>
                  <a:gd name="T10" fmla="*/ 262 w 531"/>
                  <a:gd name="T11" fmla="*/ 0 h 280"/>
                  <a:gd name="T12" fmla="*/ 211 w 531"/>
                  <a:gd name="T13" fmla="*/ 32 h 280"/>
                  <a:gd name="T14" fmla="*/ 211 w 531"/>
                  <a:gd name="T15" fmla="*/ 40 h 280"/>
                  <a:gd name="T16" fmla="*/ 219 w 531"/>
                  <a:gd name="T17" fmla="*/ 72 h 280"/>
                  <a:gd name="T18" fmla="*/ 219 w 531"/>
                  <a:gd name="T19" fmla="*/ 104 h 280"/>
                  <a:gd name="T20" fmla="*/ 211 w 531"/>
                  <a:gd name="T21" fmla="*/ 128 h 280"/>
                  <a:gd name="T22" fmla="*/ 194 w 531"/>
                  <a:gd name="T23" fmla="*/ 128 h 280"/>
                  <a:gd name="T24" fmla="*/ 160 w 531"/>
                  <a:gd name="T25" fmla="*/ 128 h 280"/>
                  <a:gd name="T26" fmla="*/ 110 w 531"/>
                  <a:gd name="T27" fmla="*/ 80 h 280"/>
                  <a:gd name="T28" fmla="*/ 76 w 531"/>
                  <a:gd name="T29" fmla="*/ 64 h 280"/>
                  <a:gd name="T30" fmla="*/ 43 w 531"/>
                  <a:gd name="T31" fmla="*/ 88 h 280"/>
                  <a:gd name="T32" fmla="*/ 17 w 531"/>
                  <a:gd name="T33" fmla="*/ 160 h 280"/>
                  <a:gd name="T34" fmla="*/ 0 w 531"/>
                  <a:gd name="T35" fmla="*/ 192 h 280"/>
                  <a:gd name="T36" fmla="*/ 0 w 531"/>
                  <a:gd name="T37" fmla="*/ 224 h 280"/>
                  <a:gd name="T38" fmla="*/ 9 w 531"/>
                  <a:gd name="T39" fmla="*/ 280 h 280"/>
                  <a:gd name="T40" fmla="*/ 34 w 531"/>
                  <a:gd name="T41" fmla="*/ 256 h 280"/>
                  <a:gd name="T42" fmla="*/ 93 w 531"/>
                  <a:gd name="T43" fmla="*/ 224 h 280"/>
                  <a:gd name="T44" fmla="*/ 152 w 531"/>
                  <a:gd name="T45" fmla="*/ 224 h 280"/>
                  <a:gd name="T46" fmla="*/ 194 w 531"/>
                  <a:gd name="T47" fmla="*/ 216 h 280"/>
                  <a:gd name="T48" fmla="*/ 236 w 531"/>
                  <a:gd name="T49" fmla="*/ 224 h 280"/>
                  <a:gd name="T50" fmla="*/ 287 w 531"/>
                  <a:gd name="T51" fmla="*/ 192 h 280"/>
                  <a:gd name="T52" fmla="*/ 295 w 531"/>
                  <a:gd name="T53" fmla="*/ 208 h 280"/>
                  <a:gd name="T54" fmla="*/ 346 w 531"/>
                  <a:gd name="T55" fmla="*/ 216 h 280"/>
                  <a:gd name="T56" fmla="*/ 380 w 531"/>
                  <a:gd name="T57" fmla="*/ 232 h 280"/>
                  <a:gd name="T58" fmla="*/ 405 w 531"/>
                  <a:gd name="T59" fmla="*/ 248 h 280"/>
                  <a:gd name="T60" fmla="*/ 430 w 531"/>
                  <a:gd name="T61" fmla="*/ 248 h 280"/>
                  <a:gd name="T62" fmla="*/ 455 w 531"/>
                  <a:gd name="T63" fmla="*/ 232 h 280"/>
                  <a:gd name="T64" fmla="*/ 498 w 531"/>
                  <a:gd name="T65" fmla="*/ 232 h 280"/>
                  <a:gd name="T66" fmla="*/ 531 w 531"/>
                  <a:gd name="T67" fmla="*/ 176 h 280"/>
                  <a:gd name="T68" fmla="*/ 506 w 531"/>
                  <a:gd name="T69" fmla="*/ 112 h 280"/>
                  <a:gd name="T70" fmla="*/ 472 w 531"/>
                  <a:gd name="T71" fmla="*/ 80 h 28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31" h="280">
                    <a:moveTo>
                      <a:pt x="472" y="80"/>
                    </a:moveTo>
                    <a:lnTo>
                      <a:pt x="464" y="40"/>
                    </a:lnTo>
                    <a:lnTo>
                      <a:pt x="413" y="32"/>
                    </a:lnTo>
                    <a:lnTo>
                      <a:pt x="371" y="40"/>
                    </a:lnTo>
                    <a:lnTo>
                      <a:pt x="304" y="0"/>
                    </a:lnTo>
                    <a:lnTo>
                      <a:pt x="262" y="0"/>
                    </a:lnTo>
                    <a:lnTo>
                      <a:pt x="211" y="32"/>
                    </a:lnTo>
                    <a:lnTo>
                      <a:pt x="211" y="40"/>
                    </a:lnTo>
                    <a:lnTo>
                      <a:pt x="219" y="72"/>
                    </a:lnTo>
                    <a:lnTo>
                      <a:pt x="219" y="104"/>
                    </a:lnTo>
                    <a:lnTo>
                      <a:pt x="211" y="128"/>
                    </a:lnTo>
                    <a:lnTo>
                      <a:pt x="194" y="128"/>
                    </a:lnTo>
                    <a:lnTo>
                      <a:pt x="160" y="128"/>
                    </a:lnTo>
                    <a:lnTo>
                      <a:pt x="110" y="80"/>
                    </a:lnTo>
                    <a:lnTo>
                      <a:pt x="76" y="64"/>
                    </a:lnTo>
                    <a:lnTo>
                      <a:pt x="43" y="88"/>
                    </a:lnTo>
                    <a:lnTo>
                      <a:pt x="17" y="160"/>
                    </a:lnTo>
                    <a:lnTo>
                      <a:pt x="0" y="192"/>
                    </a:lnTo>
                    <a:lnTo>
                      <a:pt x="0" y="224"/>
                    </a:lnTo>
                    <a:lnTo>
                      <a:pt x="9" y="280"/>
                    </a:lnTo>
                    <a:lnTo>
                      <a:pt x="34" y="256"/>
                    </a:lnTo>
                    <a:lnTo>
                      <a:pt x="93" y="224"/>
                    </a:lnTo>
                    <a:lnTo>
                      <a:pt x="152" y="224"/>
                    </a:lnTo>
                    <a:lnTo>
                      <a:pt x="194" y="216"/>
                    </a:lnTo>
                    <a:lnTo>
                      <a:pt x="236" y="224"/>
                    </a:lnTo>
                    <a:lnTo>
                      <a:pt x="287" y="192"/>
                    </a:lnTo>
                    <a:lnTo>
                      <a:pt x="295" y="208"/>
                    </a:lnTo>
                    <a:lnTo>
                      <a:pt x="346" y="216"/>
                    </a:lnTo>
                    <a:lnTo>
                      <a:pt x="380" y="232"/>
                    </a:lnTo>
                    <a:lnTo>
                      <a:pt x="405" y="248"/>
                    </a:lnTo>
                    <a:lnTo>
                      <a:pt x="430" y="248"/>
                    </a:lnTo>
                    <a:lnTo>
                      <a:pt x="455" y="232"/>
                    </a:lnTo>
                    <a:lnTo>
                      <a:pt x="498" y="232"/>
                    </a:lnTo>
                    <a:lnTo>
                      <a:pt x="531" y="176"/>
                    </a:lnTo>
                    <a:lnTo>
                      <a:pt x="506" y="112"/>
                    </a:lnTo>
                    <a:lnTo>
                      <a:pt x="472" y="8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 96">
                <a:extLst>
                  <a:ext uri="{FF2B5EF4-FFF2-40B4-BE49-F238E27FC236}">
                    <a16:creationId xmlns:a16="http://schemas.microsoft.com/office/drawing/2014/main" id="{651C781E-8638-3C4D-487D-FC77E4886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98553" y="2678385"/>
                <a:ext cx="470474" cy="346224"/>
              </a:xfrm>
              <a:custGeom>
                <a:avLst/>
                <a:gdLst>
                  <a:gd name="T0" fmla="*/ 295 w 337"/>
                  <a:gd name="T1" fmla="*/ 128 h 248"/>
                  <a:gd name="T2" fmla="*/ 295 w 337"/>
                  <a:gd name="T3" fmla="*/ 64 h 248"/>
                  <a:gd name="T4" fmla="*/ 295 w 337"/>
                  <a:gd name="T5" fmla="*/ 16 h 248"/>
                  <a:gd name="T6" fmla="*/ 286 w 337"/>
                  <a:gd name="T7" fmla="*/ 0 h 248"/>
                  <a:gd name="T8" fmla="*/ 236 w 337"/>
                  <a:gd name="T9" fmla="*/ 8 h 248"/>
                  <a:gd name="T10" fmla="*/ 126 w 337"/>
                  <a:gd name="T11" fmla="*/ 16 h 248"/>
                  <a:gd name="T12" fmla="*/ 67 w 337"/>
                  <a:gd name="T13" fmla="*/ 40 h 248"/>
                  <a:gd name="T14" fmla="*/ 25 w 337"/>
                  <a:gd name="T15" fmla="*/ 64 h 248"/>
                  <a:gd name="T16" fmla="*/ 8 w 337"/>
                  <a:gd name="T17" fmla="*/ 88 h 248"/>
                  <a:gd name="T18" fmla="*/ 0 w 337"/>
                  <a:gd name="T19" fmla="*/ 112 h 248"/>
                  <a:gd name="T20" fmla="*/ 25 w 337"/>
                  <a:gd name="T21" fmla="*/ 128 h 248"/>
                  <a:gd name="T22" fmla="*/ 17 w 337"/>
                  <a:gd name="T23" fmla="*/ 152 h 248"/>
                  <a:gd name="T24" fmla="*/ 25 w 337"/>
                  <a:gd name="T25" fmla="*/ 176 h 248"/>
                  <a:gd name="T26" fmla="*/ 42 w 337"/>
                  <a:gd name="T27" fmla="*/ 184 h 248"/>
                  <a:gd name="T28" fmla="*/ 67 w 337"/>
                  <a:gd name="T29" fmla="*/ 184 h 248"/>
                  <a:gd name="T30" fmla="*/ 93 w 337"/>
                  <a:gd name="T31" fmla="*/ 176 h 248"/>
                  <a:gd name="T32" fmla="*/ 101 w 337"/>
                  <a:gd name="T33" fmla="*/ 240 h 248"/>
                  <a:gd name="T34" fmla="*/ 152 w 337"/>
                  <a:gd name="T35" fmla="*/ 208 h 248"/>
                  <a:gd name="T36" fmla="*/ 194 w 337"/>
                  <a:gd name="T37" fmla="*/ 208 h 248"/>
                  <a:gd name="T38" fmla="*/ 261 w 337"/>
                  <a:gd name="T39" fmla="*/ 248 h 248"/>
                  <a:gd name="T40" fmla="*/ 303 w 337"/>
                  <a:gd name="T41" fmla="*/ 240 h 248"/>
                  <a:gd name="T42" fmla="*/ 320 w 337"/>
                  <a:gd name="T43" fmla="*/ 240 h 248"/>
                  <a:gd name="T44" fmla="*/ 337 w 337"/>
                  <a:gd name="T45" fmla="*/ 176 h 248"/>
                  <a:gd name="T46" fmla="*/ 295 w 337"/>
                  <a:gd name="T47" fmla="*/ 128 h 24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37" h="248">
                    <a:moveTo>
                      <a:pt x="295" y="128"/>
                    </a:moveTo>
                    <a:lnTo>
                      <a:pt x="295" y="64"/>
                    </a:lnTo>
                    <a:lnTo>
                      <a:pt x="295" y="16"/>
                    </a:lnTo>
                    <a:lnTo>
                      <a:pt x="286" y="0"/>
                    </a:lnTo>
                    <a:lnTo>
                      <a:pt x="236" y="8"/>
                    </a:lnTo>
                    <a:lnTo>
                      <a:pt x="126" y="16"/>
                    </a:lnTo>
                    <a:lnTo>
                      <a:pt x="67" y="40"/>
                    </a:lnTo>
                    <a:lnTo>
                      <a:pt x="25" y="64"/>
                    </a:lnTo>
                    <a:lnTo>
                      <a:pt x="8" y="88"/>
                    </a:lnTo>
                    <a:lnTo>
                      <a:pt x="0" y="112"/>
                    </a:lnTo>
                    <a:lnTo>
                      <a:pt x="25" y="128"/>
                    </a:lnTo>
                    <a:lnTo>
                      <a:pt x="17" y="152"/>
                    </a:lnTo>
                    <a:lnTo>
                      <a:pt x="25" y="176"/>
                    </a:lnTo>
                    <a:lnTo>
                      <a:pt x="42" y="184"/>
                    </a:lnTo>
                    <a:lnTo>
                      <a:pt x="67" y="184"/>
                    </a:lnTo>
                    <a:lnTo>
                      <a:pt x="93" y="176"/>
                    </a:lnTo>
                    <a:lnTo>
                      <a:pt x="101" y="240"/>
                    </a:lnTo>
                    <a:lnTo>
                      <a:pt x="152" y="208"/>
                    </a:lnTo>
                    <a:lnTo>
                      <a:pt x="194" y="208"/>
                    </a:lnTo>
                    <a:lnTo>
                      <a:pt x="261" y="248"/>
                    </a:lnTo>
                    <a:lnTo>
                      <a:pt x="303" y="240"/>
                    </a:lnTo>
                    <a:lnTo>
                      <a:pt x="320" y="240"/>
                    </a:lnTo>
                    <a:lnTo>
                      <a:pt x="337" y="176"/>
                    </a:lnTo>
                    <a:lnTo>
                      <a:pt x="295" y="12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 97">
                <a:extLst>
                  <a:ext uri="{FF2B5EF4-FFF2-40B4-BE49-F238E27FC236}">
                    <a16:creationId xmlns:a16="http://schemas.microsoft.com/office/drawing/2014/main" id="{8A3CAC56-1089-E455-CB46-E61111DC46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09722" y="723894"/>
                <a:ext cx="1564988" cy="3071342"/>
              </a:xfrm>
              <a:custGeom>
                <a:avLst/>
                <a:gdLst>
                  <a:gd name="T0" fmla="*/ 995 w 1121"/>
                  <a:gd name="T1" fmla="*/ 64 h 2200"/>
                  <a:gd name="T2" fmla="*/ 1003 w 1121"/>
                  <a:gd name="T3" fmla="*/ 160 h 2200"/>
                  <a:gd name="T4" fmla="*/ 919 w 1121"/>
                  <a:gd name="T5" fmla="*/ 168 h 2200"/>
                  <a:gd name="T6" fmla="*/ 877 w 1121"/>
                  <a:gd name="T7" fmla="*/ 168 h 2200"/>
                  <a:gd name="T8" fmla="*/ 893 w 1121"/>
                  <a:gd name="T9" fmla="*/ 88 h 2200"/>
                  <a:gd name="T10" fmla="*/ 851 w 1121"/>
                  <a:gd name="T11" fmla="*/ 16 h 2200"/>
                  <a:gd name="T12" fmla="*/ 700 w 1121"/>
                  <a:gd name="T13" fmla="*/ 48 h 2200"/>
                  <a:gd name="T14" fmla="*/ 809 w 1121"/>
                  <a:gd name="T15" fmla="*/ 176 h 2200"/>
                  <a:gd name="T16" fmla="*/ 877 w 1121"/>
                  <a:gd name="T17" fmla="*/ 224 h 2200"/>
                  <a:gd name="T18" fmla="*/ 851 w 1121"/>
                  <a:gd name="T19" fmla="*/ 304 h 2200"/>
                  <a:gd name="T20" fmla="*/ 784 w 1121"/>
                  <a:gd name="T21" fmla="*/ 328 h 2200"/>
                  <a:gd name="T22" fmla="*/ 725 w 1121"/>
                  <a:gd name="T23" fmla="*/ 448 h 2200"/>
                  <a:gd name="T24" fmla="*/ 818 w 1121"/>
                  <a:gd name="T25" fmla="*/ 560 h 2200"/>
                  <a:gd name="T26" fmla="*/ 599 w 1121"/>
                  <a:gd name="T27" fmla="*/ 568 h 2200"/>
                  <a:gd name="T28" fmla="*/ 607 w 1121"/>
                  <a:gd name="T29" fmla="*/ 640 h 2200"/>
                  <a:gd name="T30" fmla="*/ 700 w 1121"/>
                  <a:gd name="T31" fmla="*/ 664 h 2200"/>
                  <a:gd name="T32" fmla="*/ 674 w 1121"/>
                  <a:gd name="T33" fmla="*/ 712 h 2200"/>
                  <a:gd name="T34" fmla="*/ 548 w 1121"/>
                  <a:gd name="T35" fmla="*/ 688 h 2200"/>
                  <a:gd name="T36" fmla="*/ 447 w 1121"/>
                  <a:gd name="T37" fmla="*/ 592 h 2200"/>
                  <a:gd name="T38" fmla="*/ 430 w 1121"/>
                  <a:gd name="T39" fmla="*/ 512 h 2200"/>
                  <a:gd name="T40" fmla="*/ 253 w 1121"/>
                  <a:gd name="T41" fmla="*/ 424 h 2200"/>
                  <a:gd name="T42" fmla="*/ 396 w 1121"/>
                  <a:gd name="T43" fmla="*/ 440 h 2200"/>
                  <a:gd name="T44" fmla="*/ 658 w 1121"/>
                  <a:gd name="T45" fmla="*/ 416 h 2200"/>
                  <a:gd name="T46" fmla="*/ 717 w 1121"/>
                  <a:gd name="T47" fmla="*/ 288 h 2200"/>
                  <a:gd name="T48" fmla="*/ 599 w 1121"/>
                  <a:gd name="T49" fmla="*/ 192 h 2200"/>
                  <a:gd name="T50" fmla="*/ 304 w 1121"/>
                  <a:gd name="T51" fmla="*/ 128 h 2200"/>
                  <a:gd name="T52" fmla="*/ 186 w 1121"/>
                  <a:gd name="T53" fmla="*/ 96 h 2200"/>
                  <a:gd name="T54" fmla="*/ 110 w 1121"/>
                  <a:gd name="T55" fmla="*/ 112 h 2200"/>
                  <a:gd name="T56" fmla="*/ 42 w 1121"/>
                  <a:gd name="T57" fmla="*/ 176 h 2200"/>
                  <a:gd name="T58" fmla="*/ 26 w 1121"/>
                  <a:gd name="T59" fmla="*/ 336 h 2200"/>
                  <a:gd name="T60" fmla="*/ 93 w 1121"/>
                  <a:gd name="T61" fmla="*/ 448 h 2200"/>
                  <a:gd name="T62" fmla="*/ 169 w 1121"/>
                  <a:gd name="T63" fmla="*/ 656 h 2200"/>
                  <a:gd name="T64" fmla="*/ 287 w 1121"/>
                  <a:gd name="T65" fmla="*/ 808 h 2200"/>
                  <a:gd name="T66" fmla="*/ 388 w 1121"/>
                  <a:gd name="T67" fmla="*/ 944 h 2200"/>
                  <a:gd name="T68" fmla="*/ 287 w 1121"/>
                  <a:gd name="T69" fmla="*/ 1152 h 2200"/>
                  <a:gd name="T70" fmla="*/ 304 w 1121"/>
                  <a:gd name="T71" fmla="*/ 1264 h 2200"/>
                  <a:gd name="T72" fmla="*/ 396 w 1121"/>
                  <a:gd name="T73" fmla="*/ 1296 h 2200"/>
                  <a:gd name="T74" fmla="*/ 346 w 1121"/>
                  <a:gd name="T75" fmla="*/ 1312 h 2200"/>
                  <a:gd name="T76" fmla="*/ 287 w 1121"/>
                  <a:gd name="T77" fmla="*/ 1368 h 2200"/>
                  <a:gd name="T78" fmla="*/ 287 w 1121"/>
                  <a:gd name="T79" fmla="*/ 1408 h 2200"/>
                  <a:gd name="T80" fmla="*/ 329 w 1121"/>
                  <a:gd name="T81" fmla="*/ 1568 h 2200"/>
                  <a:gd name="T82" fmla="*/ 354 w 1121"/>
                  <a:gd name="T83" fmla="*/ 1680 h 2200"/>
                  <a:gd name="T84" fmla="*/ 413 w 1121"/>
                  <a:gd name="T85" fmla="*/ 1768 h 2200"/>
                  <a:gd name="T86" fmla="*/ 481 w 1121"/>
                  <a:gd name="T87" fmla="*/ 1776 h 2200"/>
                  <a:gd name="T88" fmla="*/ 573 w 1121"/>
                  <a:gd name="T89" fmla="*/ 1776 h 2200"/>
                  <a:gd name="T90" fmla="*/ 649 w 1121"/>
                  <a:gd name="T91" fmla="*/ 1840 h 2200"/>
                  <a:gd name="T92" fmla="*/ 683 w 1121"/>
                  <a:gd name="T93" fmla="*/ 1904 h 2200"/>
                  <a:gd name="T94" fmla="*/ 767 w 1121"/>
                  <a:gd name="T95" fmla="*/ 1960 h 2200"/>
                  <a:gd name="T96" fmla="*/ 843 w 1121"/>
                  <a:gd name="T97" fmla="*/ 2024 h 2200"/>
                  <a:gd name="T98" fmla="*/ 767 w 1121"/>
                  <a:gd name="T99" fmla="*/ 2072 h 2200"/>
                  <a:gd name="T100" fmla="*/ 809 w 1121"/>
                  <a:gd name="T101" fmla="*/ 2136 h 2200"/>
                  <a:gd name="T102" fmla="*/ 877 w 1121"/>
                  <a:gd name="T103" fmla="*/ 2128 h 2200"/>
                  <a:gd name="T104" fmla="*/ 1011 w 1121"/>
                  <a:gd name="T105" fmla="*/ 2112 h 2200"/>
                  <a:gd name="T106" fmla="*/ 1054 w 1121"/>
                  <a:gd name="T107" fmla="*/ 2192 h 2200"/>
                  <a:gd name="T108" fmla="*/ 1113 w 1121"/>
                  <a:gd name="T109" fmla="*/ 1360 h 2200"/>
                  <a:gd name="T110" fmla="*/ 1014 w 1121"/>
                  <a:gd name="T111" fmla="*/ 13 h 220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121" h="2200">
                    <a:moveTo>
                      <a:pt x="1014" y="13"/>
                    </a:moveTo>
                    <a:lnTo>
                      <a:pt x="1011" y="6"/>
                    </a:lnTo>
                    <a:lnTo>
                      <a:pt x="995" y="64"/>
                    </a:lnTo>
                    <a:lnTo>
                      <a:pt x="1011" y="112"/>
                    </a:lnTo>
                    <a:lnTo>
                      <a:pt x="1011" y="136"/>
                    </a:lnTo>
                    <a:lnTo>
                      <a:pt x="1003" y="160"/>
                    </a:lnTo>
                    <a:lnTo>
                      <a:pt x="961" y="184"/>
                    </a:lnTo>
                    <a:lnTo>
                      <a:pt x="936" y="184"/>
                    </a:lnTo>
                    <a:lnTo>
                      <a:pt x="919" y="168"/>
                    </a:lnTo>
                    <a:lnTo>
                      <a:pt x="902" y="160"/>
                    </a:lnTo>
                    <a:lnTo>
                      <a:pt x="893" y="168"/>
                    </a:lnTo>
                    <a:lnTo>
                      <a:pt x="877" y="168"/>
                    </a:lnTo>
                    <a:lnTo>
                      <a:pt x="877" y="144"/>
                    </a:lnTo>
                    <a:lnTo>
                      <a:pt x="877" y="112"/>
                    </a:lnTo>
                    <a:lnTo>
                      <a:pt x="893" y="88"/>
                    </a:lnTo>
                    <a:lnTo>
                      <a:pt x="902" y="64"/>
                    </a:lnTo>
                    <a:lnTo>
                      <a:pt x="893" y="48"/>
                    </a:lnTo>
                    <a:lnTo>
                      <a:pt x="851" y="16"/>
                    </a:lnTo>
                    <a:lnTo>
                      <a:pt x="801" y="24"/>
                    </a:lnTo>
                    <a:lnTo>
                      <a:pt x="750" y="40"/>
                    </a:lnTo>
                    <a:lnTo>
                      <a:pt x="700" y="48"/>
                    </a:lnTo>
                    <a:lnTo>
                      <a:pt x="742" y="64"/>
                    </a:lnTo>
                    <a:lnTo>
                      <a:pt x="784" y="88"/>
                    </a:lnTo>
                    <a:lnTo>
                      <a:pt x="809" y="176"/>
                    </a:lnTo>
                    <a:lnTo>
                      <a:pt x="818" y="200"/>
                    </a:lnTo>
                    <a:lnTo>
                      <a:pt x="843" y="200"/>
                    </a:lnTo>
                    <a:lnTo>
                      <a:pt x="877" y="224"/>
                    </a:lnTo>
                    <a:lnTo>
                      <a:pt x="902" y="264"/>
                    </a:lnTo>
                    <a:lnTo>
                      <a:pt x="910" y="312"/>
                    </a:lnTo>
                    <a:lnTo>
                      <a:pt x="851" y="304"/>
                    </a:lnTo>
                    <a:lnTo>
                      <a:pt x="801" y="312"/>
                    </a:lnTo>
                    <a:lnTo>
                      <a:pt x="784" y="320"/>
                    </a:lnTo>
                    <a:lnTo>
                      <a:pt x="784" y="328"/>
                    </a:lnTo>
                    <a:lnTo>
                      <a:pt x="776" y="360"/>
                    </a:lnTo>
                    <a:lnTo>
                      <a:pt x="750" y="400"/>
                    </a:lnTo>
                    <a:lnTo>
                      <a:pt x="725" y="448"/>
                    </a:lnTo>
                    <a:lnTo>
                      <a:pt x="717" y="480"/>
                    </a:lnTo>
                    <a:lnTo>
                      <a:pt x="733" y="496"/>
                    </a:lnTo>
                    <a:lnTo>
                      <a:pt x="818" y="560"/>
                    </a:lnTo>
                    <a:lnTo>
                      <a:pt x="750" y="584"/>
                    </a:lnTo>
                    <a:lnTo>
                      <a:pt x="666" y="584"/>
                    </a:lnTo>
                    <a:lnTo>
                      <a:pt x="599" y="568"/>
                    </a:lnTo>
                    <a:lnTo>
                      <a:pt x="582" y="584"/>
                    </a:lnTo>
                    <a:lnTo>
                      <a:pt x="573" y="608"/>
                    </a:lnTo>
                    <a:lnTo>
                      <a:pt x="607" y="640"/>
                    </a:lnTo>
                    <a:lnTo>
                      <a:pt x="658" y="648"/>
                    </a:lnTo>
                    <a:lnTo>
                      <a:pt x="683" y="648"/>
                    </a:lnTo>
                    <a:lnTo>
                      <a:pt x="700" y="664"/>
                    </a:lnTo>
                    <a:lnTo>
                      <a:pt x="700" y="680"/>
                    </a:lnTo>
                    <a:lnTo>
                      <a:pt x="683" y="704"/>
                    </a:lnTo>
                    <a:lnTo>
                      <a:pt x="674" y="712"/>
                    </a:lnTo>
                    <a:lnTo>
                      <a:pt x="649" y="712"/>
                    </a:lnTo>
                    <a:lnTo>
                      <a:pt x="599" y="696"/>
                    </a:lnTo>
                    <a:lnTo>
                      <a:pt x="548" y="688"/>
                    </a:lnTo>
                    <a:lnTo>
                      <a:pt x="523" y="680"/>
                    </a:lnTo>
                    <a:lnTo>
                      <a:pt x="506" y="664"/>
                    </a:lnTo>
                    <a:lnTo>
                      <a:pt x="447" y="592"/>
                    </a:lnTo>
                    <a:lnTo>
                      <a:pt x="438" y="552"/>
                    </a:lnTo>
                    <a:lnTo>
                      <a:pt x="438" y="536"/>
                    </a:lnTo>
                    <a:lnTo>
                      <a:pt x="430" y="512"/>
                    </a:lnTo>
                    <a:lnTo>
                      <a:pt x="380" y="496"/>
                    </a:lnTo>
                    <a:lnTo>
                      <a:pt x="337" y="480"/>
                    </a:lnTo>
                    <a:lnTo>
                      <a:pt x="253" y="424"/>
                    </a:lnTo>
                    <a:lnTo>
                      <a:pt x="287" y="424"/>
                    </a:lnTo>
                    <a:lnTo>
                      <a:pt x="321" y="440"/>
                    </a:lnTo>
                    <a:lnTo>
                      <a:pt x="396" y="440"/>
                    </a:lnTo>
                    <a:lnTo>
                      <a:pt x="565" y="448"/>
                    </a:lnTo>
                    <a:lnTo>
                      <a:pt x="624" y="432"/>
                    </a:lnTo>
                    <a:lnTo>
                      <a:pt x="658" y="416"/>
                    </a:lnTo>
                    <a:lnTo>
                      <a:pt x="683" y="384"/>
                    </a:lnTo>
                    <a:lnTo>
                      <a:pt x="708" y="320"/>
                    </a:lnTo>
                    <a:lnTo>
                      <a:pt x="717" y="288"/>
                    </a:lnTo>
                    <a:lnTo>
                      <a:pt x="708" y="256"/>
                    </a:lnTo>
                    <a:lnTo>
                      <a:pt x="666" y="208"/>
                    </a:lnTo>
                    <a:lnTo>
                      <a:pt x="599" y="192"/>
                    </a:lnTo>
                    <a:lnTo>
                      <a:pt x="447" y="152"/>
                    </a:lnTo>
                    <a:lnTo>
                      <a:pt x="371" y="128"/>
                    </a:lnTo>
                    <a:lnTo>
                      <a:pt x="304" y="128"/>
                    </a:lnTo>
                    <a:lnTo>
                      <a:pt x="152" y="128"/>
                    </a:lnTo>
                    <a:lnTo>
                      <a:pt x="177" y="104"/>
                    </a:lnTo>
                    <a:lnTo>
                      <a:pt x="186" y="96"/>
                    </a:lnTo>
                    <a:lnTo>
                      <a:pt x="169" y="88"/>
                    </a:lnTo>
                    <a:lnTo>
                      <a:pt x="127" y="80"/>
                    </a:lnTo>
                    <a:lnTo>
                      <a:pt x="110" y="112"/>
                    </a:lnTo>
                    <a:lnTo>
                      <a:pt x="76" y="120"/>
                    </a:lnTo>
                    <a:lnTo>
                      <a:pt x="76" y="144"/>
                    </a:lnTo>
                    <a:lnTo>
                      <a:pt x="42" y="176"/>
                    </a:lnTo>
                    <a:lnTo>
                      <a:pt x="9" y="224"/>
                    </a:lnTo>
                    <a:lnTo>
                      <a:pt x="0" y="272"/>
                    </a:lnTo>
                    <a:lnTo>
                      <a:pt x="26" y="336"/>
                    </a:lnTo>
                    <a:lnTo>
                      <a:pt x="68" y="352"/>
                    </a:lnTo>
                    <a:lnTo>
                      <a:pt x="110" y="392"/>
                    </a:lnTo>
                    <a:lnTo>
                      <a:pt x="93" y="448"/>
                    </a:lnTo>
                    <a:lnTo>
                      <a:pt x="144" y="544"/>
                    </a:lnTo>
                    <a:lnTo>
                      <a:pt x="211" y="608"/>
                    </a:lnTo>
                    <a:lnTo>
                      <a:pt x="169" y="656"/>
                    </a:lnTo>
                    <a:lnTo>
                      <a:pt x="177" y="712"/>
                    </a:lnTo>
                    <a:lnTo>
                      <a:pt x="245" y="752"/>
                    </a:lnTo>
                    <a:lnTo>
                      <a:pt x="287" y="808"/>
                    </a:lnTo>
                    <a:lnTo>
                      <a:pt x="270" y="856"/>
                    </a:lnTo>
                    <a:lnTo>
                      <a:pt x="337" y="896"/>
                    </a:lnTo>
                    <a:lnTo>
                      <a:pt x="388" y="944"/>
                    </a:lnTo>
                    <a:lnTo>
                      <a:pt x="380" y="1008"/>
                    </a:lnTo>
                    <a:lnTo>
                      <a:pt x="337" y="1080"/>
                    </a:lnTo>
                    <a:lnTo>
                      <a:pt x="287" y="1152"/>
                    </a:lnTo>
                    <a:lnTo>
                      <a:pt x="262" y="1248"/>
                    </a:lnTo>
                    <a:lnTo>
                      <a:pt x="278" y="1232"/>
                    </a:lnTo>
                    <a:lnTo>
                      <a:pt x="304" y="1264"/>
                    </a:lnTo>
                    <a:lnTo>
                      <a:pt x="346" y="1280"/>
                    </a:lnTo>
                    <a:lnTo>
                      <a:pt x="396" y="1288"/>
                    </a:lnTo>
                    <a:lnTo>
                      <a:pt x="396" y="1296"/>
                    </a:lnTo>
                    <a:lnTo>
                      <a:pt x="388" y="1304"/>
                    </a:lnTo>
                    <a:lnTo>
                      <a:pt x="363" y="1312"/>
                    </a:lnTo>
                    <a:lnTo>
                      <a:pt x="346" y="1312"/>
                    </a:lnTo>
                    <a:lnTo>
                      <a:pt x="337" y="1336"/>
                    </a:lnTo>
                    <a:lnTo>
                      <a:pt x="287" y="1344"/>
                    </a:lnTo>
                    <a:lnTo>
                      <a:pt x="287" y="1368"/>
                    </a:lnTo>
                    <a:lnTo>
                      <a:pt x="287" y="1392"/>
                    </a:lnTo>
                    <a:lnTo>
                      <a:pt x="278" y="1392"/>
                    </a:lnTo>
                    <a:lnTo>
                      <a:pt x="287" y="1408"/>
                    </a:lnTo>
                    <a:lnTo>
                      <a:pt x="287" y="1456"/>
                    </a:lnTo>
                    <a:lnTo>
                      <a:pt x="287" y="1520"/>
                    </a:lnTo>
                    <a:lnTo>
                      <a:pt x="329" y="1568"/>
                    </a:lnTo>
                    <a:lnTo>
                      <a:pt x="312" y="1632"/>
                    </a:lnTo>
                    <a:lnTo>
                      <a:pt x="346" y="1640"/>
                    </a:lnTo>
                    <a:lnTo>
                      <a:pt x="354" y="1680"/>
                    </a:lnTo>
                    <a:lnTo>
                      <a:pt x="388" y="1712"/>
                    </a:lnTo>
                    <a:lnTo>
                      <a:pt x="413" y="1776"/>
                    </a:lnTo>
                    <a:lnTo>
                      <a:pt x="413" y="1768"/>
                    </a:lnTo>
                    <a:lnTo>
                      <a:pt x="438" y="1768"/>
                    </a:lnTo>
                    <a:lnTo>
                      <a:pt x="464" y="1784"/>
                    </a:lnTo>
                    <a:lnTo>
                      <a:pt x="481" y="1776"/>
                    </a:lnTo>
                    <a:lnTo>
                      <a:pt x="514" y="1784"/>
                    </a:lnTo>
                    <a:lnTo>
                      <a:pt x="531" y="1800"/>
                    </a:lnTo>
                    <a:lnTo>
                      <a:pt x="573" y="1776"/>
                    </a:lnTo>
                    <a:lnTo>
                      <a:pt x="607" y="1784"/>
                    </a:lnTo>
                    <a:lnTo>
                      <a:pt x="641" y="1808"/>
                    </a:lnTo>
                    <a:lnTo>
                      <a:pt x="649" y="1840"/>
                    </a:lnTo>
                    <a:lnTo>
                      <a:pt x="649" y="1872"/>
                    </a:lnTo>
                    <a:lnTo>
                      <a:pt x="683" y="1888"/>
                    </a:lnTo>
                    <a:lnTo>
                      <a:pt x="683" y="1904"/>
                    </a:lnTo>
                    <a:lnTo>
                      <a:pt x="717" y="1928"/>
                    </a:lnTo>
                    <a:lnTo>
                      <a:pt x="759" y="1936"/>
                    </a:lnTo>
                    <a:lnTo>
                      <a:pt x="767" y="1960"/>
                    </a:lnTo>
                    <a:lnTo>
                      <a:pt x="835" y="1976"/>
                    </a:lnTo>
                    <a:lnTo>
                      <a:pt x="860" y="2000"/>
                    </a:lnTo>
                    <a:lnTo>
                      <a:pt x="843" y="2024"/>
                    </a:lnTo>
                    <a:lnTo>
                      <a:pt x="826" y="2040"/>
                    </a:lnTo>
                    <a:lnTo>
                      <a:pt x="776" y="2048"/>
                    </a:lnTo>
                    <a:lnTo>
                      <a:pt x="767" y="2072"/>
                    </a:lnTo>
                    <a:lnTo>
                      <a:pt x="792" y="2088"/>
                    </a:lnTo>
                    <a:lnTo>
                      <a:pt x="792" y="2112"/>
                    </a:lnTo>
                    <a:lnTo>
                      <a:pt x="809" y="2136"/>
                    </a:lnTo>
                    <a:lnTo>
                      <a:pt x="835" y="2168"/>
                    </a:lnTo>
                    <a:lnTo>
                      <a:pt x="868" y="2168"/>
                    </a:lnTo>
                    <a:lnTo>
                      <a:pt x="877" y="2128"/>
                    </a:lnTo>
                    <a:lnTo>
                      <a:pt x="910" y="2128"/>
                    </a:lnTo>
                    <a:lnTo>
                      <a:pt x="969" y="2096"/>
                    </a:lnTo>
                    <a:lnTo>
                      <a:pt x="1011" y="2112"/>
                    </a:lnTo>
                    <a:lnTo>
                      <a:pt x="1054" y="2136"/>
                    </a:lnTo>
                    <a:lnTo>
                      <a:pt x="1037" y="2152"/>
                    </a:lnTo>
                    <a:lnTo>
                      <a:pt x="1054" y="2192"/>
                    </a:lnTo>
                    <a:lnTo>
                      <a:pt x="1079" y="2200"/>
                    </a:lnTo>
                    <a:lnTo>
                      <a:pt x="1113" y="2200"/>
                    </a:lnTo>
                    <a:lnTo>
                      <a:pt x="1113" y="1360"/>
                    </a:lnTo>
                    <a:lnTo>
                      <a:pt x="1121" y="0"/>
                    </a:lnTo>
                    <a:lnTo>
                      <a:pt x="1116" y="8"/>
                    </a:lnTo>
                    <a:lnTo>
                      <a:pt x="1014" y="1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 98">
                <a:extLst>
                  <a:ext uri="{FF2B5EF4-FFF2-40B4-BE49-F238E27FC236}">
                    <a16:creationId xmlns:a16="http://schemas.microsoft.com/office/drawing/2014/main" id="{AFE6A59D-8425-0E59-21F3-5C5C913B5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3299" y="3546326"/>
                <a:ext cx="470474" cy="346224"/>
              </a:xfrm>
              <a:custGeom>
                <a:avLst/>
                <a:gdLst>
                  <a:gd name="T0" fmla="*/ 295 w 337"/>
                  <a:gd name="T1" fmla="*/ 128 h 248"/>
                  <a:gd name="T2" fmla="*/ 295 w 337"/>
                  <a:gd name="T3" fmla="*/ 64 h 248"/>
                  <a:gd name="T4" fmla="*/ 295 w 337"/>
                  <a:gd name="T5" fmla="*/ 16 h 248"/>
                  <a:gd name="T6" fmla="*/ 286 w 337"/>
                  <a:gd name="T7" fmla="*/ 0 h 248"/>
                  <a:gd name="T8" fmla="*/ 236 w 337"/>
                  <a:gd name="T9" fmla="*/ 8 h 248"/>
                  <a:gd name="T10" fmla="*/ 126 w 337"/>
                  <a:gd name="T11" fmla="*/ 16 h 248"/>
                  <a:gd name="T12" fmla="*/ 67 w 337"/>
                  <a:gd name="T13" fmla="*/ 40 h 248"/>
                  <a:gd name="T14" fmla="*/ 25 w 337"/>
                  <a:gd name="T15" fmla="*/ 64 h 248"/>
                  <a:gd name="T16" fmla="*/ 8 w 337"/>
                  <a:gd name="T17" fmla="*/ 88 h 248"/>
                  <a:gd name="T18" fmla="*/ 0 w 337"/>
                  <a:gd name="T19" fmla="*/ 112 h 248"/>
                  <a:gd name="T20" fmla="*/ 25 w 337"/>
                  <a:gd name="T21" fmla="*/ 128 h 248"/>
                  <a:gd name="T22" fmla="*/ 17 w 337"/>
                  <a:gd name="T23" fmla="*/ 152 h 248"/>
                  <a:gd name="T24" fmla="*/ 25 w 337"/>
                  <a:gd name="T25" fmla="*/ 176 h 248"/>
                  <a:gd name="T26" fmla="*/ 42 w 337"/>
                  <a:gd name="T27" fmla="*/ 184 h 248"/>
                  <a:gd name="T28" fmla="*/ 67 w 337"/>
                  <a:gd name="T29" fmla="*/ 184 h 248"/>
                  <a:gd name="T30" fmla="*/ 93 w 337"/>
                  <a:gd name="T31" fmla="*/ 176 h 248"/>
                  <a:gd name="T32" fmla="*/ 101 w 337"/>
                  <a:gd name="T33" fmla="*/ 240 h 248"/>
                  <a:gd name="T34" fmla="*/ 152 w 337"/>
                  <a:gd name="T35" fmla="*/ 208 h 248"/>
                  <a:gd name="T36" fmla="*/ 194 w 337"/>
                  <a:gd name="T37" fmla="*/ 208 h 248"/>
                  <a:gd name="T38" fmla="*/ 261 w 337"/>
                  <a:gd name="T39" fmla="*/ 248 h 248"/>
                  <a:gd name="T40" fmla="*/ 303 w 337"/>
                  <a:gd name="T41" fmla="*/ 240 h 248"/>
                  <a:gd name="T42" fmla="*/ 320 w 337"/>
                  <a:gd name="T43" fmla="*/ 240 h 248"/>
                  <a:gd name="T44" fmla="*/ 337 w 337"/>
                  <a:gd name="T45" fmla="*/ 176 h 248"/>
                  <a:gd name="T46" fmla="*/ 295 w 337"/>
                  <a:gd name="T47" fmla="*/ 128 h 24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37" h="248">
                    <a:moveTo>
                      <a:pt x="295" y="128"/>
                    </a:moveTo>
                    <a:lnTo>
                      <a:pt x="295" y="64"/>
                    </a:lnTo>
                    <a:lnTo>
                      <a:pt x="295" y="16"/>
                    </a:lnTo>
                    <a:lnTo>
                      <a:pt x="286" y="0"/>
                    </a:lnTo>
                    <a:lnTo>
                      <a:pt x="236" y="8"/>
                    </a:lnTo>
                    <a:lnTo>
                      <a:pt x="126" y="16"/>
                    </a:lnTo>
                    <a:lnTo>
                      <a:pt x="67" y="40"/>
                    </a:lnTo>
                    <a:lnTo>
                      <a:pt x="25" y="64"/>
                    </a:lnTo>
                    <a:lnTo>
                      <a:pt x="8" y="88"/>
                    </a:lnTo>
                    <a:lnTo>
                      <a:pt x="0" y="112"/>
                    </a:lnTo>
                    <a:lnTo>
                      <a:pt x="25" y="128"/>
                    </a:lnTo>
                    <a:lnTo>
                      <a:pt x="17" y="152"/>
                    </a:lnTo>
                    <a:lnTo>
                      <a:pt x="25" y="176"/>
                    </a:lnTo>
                    <a:lnTo>
                      <a:pt x="42" y="184"/>
                    </a:lnTo>
                    <a:lnTo>
                      <a:pt x="67" y="184"/>
                    </a:lnTo>
                    <a:lnTo>
                      <a:pt x="93" y="176"/>
                    </a:lnTo>
                    <a:lnTo>
                      <a:pt x="101" y="240"/>
                    </a:lnTo>
                    <a:lnTo>
                      <a:pt x="152" y="208"/>
                    </a:lnTo>
                    <a:lnTo>
                      <a:pt x="194" y="208"/>
                    </a:lnTo>
                    <a:lnTo>
                      <a:pt x="261" y="248"/>
                    </a:lnTo>
                    <a:lnTo>
                      <a:pt x="303" y="240"/>
                    </a:lnTo>
                    <a:lnTo>
                      <a:pt x="320" y="240"/>
                    </a:lnTo>
                    <a:lnTo>
                      <a:pt x="337" y="176"/>
                    </a:lnTo>
                    <a:lnTo>
                      <a:pt x="295" y="12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 100">
                <a:extLst>
                  <a:ext uri="{FF2B5EF4-FFF2-40B4-BE49-F238E27FC236}">
                    <a16:creationId xmlns:a16="http://schemas.microsoft.com/office/drawing/2014/main" id="{FFFC65A6-2C1E-389B-7550-6841F7CAEE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37894" y="1804038"/>
                <a:ext cx="1118248" cy="1775794"/>
              </a:xfrm>
              <a:custGeom>
                <a:avLst/>
                <a:gdLst>
                  <a:gd name="T0" fmla="*/ 683 w 801"/>
                  <a:gd name="T1" fmla="*/ 720 h 1272"/>
                  <a:gd name="T2" fmla="*/ 658 w 801"/>
                  <a:gd name="T3" fmla="*/ 616 h 1272"/>
                  <a:gd name="T4" fmla="*/ 582 w 801"/>
                  <a:gd name="T5" fmla="*/ 520 h 1272"/>
                  <a:gd name="T6" fmla="*/ 557 w 801"/>
                  <a:gd name="T7" fmla="*/ 408 h 1272"/>
                  <a:gd name="T8" fmla="*/ 523 w 801"/>
                  <a:gd name="T9" fmla="*/ 256 h 1272"/>
                  <a:gd name="T10" fmla="*/ 439 w 801"/>
                  <a:gd name="T11" fmla="*/ 200 h 1272"/>
                  <a:gd name="T12" fmla="*/ 422 w 801"/>
                  <a:gd name="T13" fmla="*/ 88 h 1272"/>
                  <a:gd name="T14" fmla="*/ 413 w 801"/>
                  <a:gd name="T15" fmla="*/ 32 h 1272"/>
                  <a:gd name="T16" fmla="*/ 295 w 801"/>
                  <a:gd name="T17" fmla="*/ 0 h 1272"/>
                  <a:gd name="T18" fmla="*/ 262 w 801"/>
                  <a:gd name="T19" fmla="*/ 112 h 1272"/>
                  <a:gd name="T20" fmla="*/ 186 w 801"/>
                  <a:gd name="T21" fmla="*/ 168 h 1272"/>
                  <a:gd name="T22" fmla="*/ 43 w 801"/>
                  <a:gd name="T23" fmla="*/ 136 h 1272"/>
                  <a:gd name="T24" fmla="*/ 51 w 801"/>
                  <a:gd name="T25" fmla="*/ 216 h 1272"/>
                  <a:gd name="T26" fmla="*/ 177 w 801"/>
                  <a:gd name="T27" fmla="*/ 296 h 1272"/>
                  <a:gd name="T28" fmla="*/ 220 w 801"/>
                  <a:gd name="T29" fmla="*/ 368 h 1272"/>
                  <a:gd name="T30" fmla="*/ 228 w 801"/>
                  <a:gd name="T31" fmla="*/ 464 h 1272"/>
                  <a:gd name="T32" fmla="*/ 262 w 801"/>
                  <a:gd name="T33" fmla="*/ 552 h 1272"/>
                  <a:gd name="T34" fmla="*/ 329 w 801"/>
                  <a:gd name="T35" fmla="*/ 576 h 1272"/>
                  <a:gd name="T36" fmla="*/ 354 w 801"/>
                  <a:gd name="T37" fmla="*/ 600 h 1272"/>
                  <a:gd name="T38" fmla="*/ 354 w 801"/>
                  <a:gd name="T39" fmla="*/ 632 h 1272"/>
                  <a:gd name="T40" fmla="*/ 236 w 801"/>
                  <a:gd name="T41" fmla="*/ 832 h 1272"/>
                  <a:gd name="T42" fmla="*/ 177 w 801"/>
                  <a:gd name="T43" fmla="*/ 896 h 1272"/>
                  <a:gd name="T44" fmla="*/ 186 w 801"/>
                  <a:gd name="T45" fmla="*/ 976 h 1272"/>
                  <a:gd name="T46" fmla="*/ 228 w 801"/>
                  <a:gd name="T47" fmla="*/ 1080 h 1272"/>
                  <a:gd name="T48" fmla="*/ 236 w 801"/>
                  <a:gd name="T49" fmla="*/ 1160 h 1272"/>
                  <a:gd name="T50" fmla="*/ 287 w 801"/>
                  <a:gd name="T51" fmla="*/ 1208 h 1272"/>
                  <a:gd name="T52" fmla="*/ 312 w 801"/>
                  <a:gd name="T53" fmla="*/ 1272 h 1272"/>
                  <a:gd name="T54" fmla="*/ 380 w 801"/>
                  <a:gd name="T55" fmla="*/ 1264 h 1272"/>
                  <a:gd name="T56" fmla="*/ 506 w 801"/>
                  <a:gd name="T57" fmla="*/ 1192 h 1272"/>
                  <a:gd name="T58" fmla="*/ 675 w 801"/>
                  <a:gd name="T59" fmla="*/ 1112 h 1272"/>
                  <a:gd name="T60" fmla="*/ 750 w 801"/>
                  <a:gd name="T61" fmla="*/ 944 h 1272"/>
                  <a:gd name="T62" fmla="*/ 801 w 801"/>
                  <a:gd name="T63" fmla="*/ 808 h 127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801" h="1272">
                    <a:moveTo>
                      <a:pt x="750" y="760"/>
                    </a:moveTo>
                    <a:lnTo>
                      <a:pt x="683" y="720"/>
                    </a:lnTo>
                    <a:lnTo>
                      <a:pt x="700" y="672"/>
                    </a:lnTo>
                    <a:lnTo>
                      <a:pt x="658" y="616"/>
                    </a:lnTo>
                    <a:lnTo>
                      <a:pt x="590" y="576"/>
                    </a:lnTo>
                    <a:lnTo>
                      <a:pt x="582" y="520"/>
                    </a:lnTo>
                    <a:lnTo>
                      <a:pt x="624" y="472"/>
                    </a:lnTo>
                    <a:lnTo>
                      <a:pt x="557" y="408"/>
                    </a:lnTo>
                    <a:lnTo>
                      <a:pt x="506" y="312"/>
                    </a:lnTo>
                    <a:lnTo>
                      <a:pt x="523" y="256"/>
                    </a:lnTo>
                    <a:lnTo>
                      <a:pt x="481" y="216"/>
                    </a:lnTo>
                    <a:lnTo>
                      <a:pt x="439" y="200"/>
                    </a:lnTo>
                    <a:lnTo>
                      <a:pt x="413" y="136"/>
                    </a:lnTo>
                    <a:lnTo>
                      <a:pt x="422" y="88"/>
                    </a:lnTo>
                    <a:lnTo>
                      <a:pt x="430" y="72"/>
                    </a:lnTo>
                    <a:lnTo>
                      <a:pt x="413" y="32"/>
                    </a:lnTo>
                    <a:lnTo>
                      <a:pt x="346" y="0"/>
                    </a:lnTo>
                    <a:lnTo>
                      <a:pt x="295" y="0"/>
                    </a:lnTo>
                    <a:lnTo>
                      <a:pt x="262" y="40"/>
                    </a:lnTo>
                    <a:lnTo>
                      <a:pt x="262" y="112"/>
                    </a:lnTo>
                    <a:lnTo>
                      <a:pt x="245" y="184"/>
                    </a:lnTo>
                    <a:lnTo>
                      <a:pt x="186" y="168"/>
                    </a:lnTo>
                    <a:lnTo>
                      <a:pt x="144" y="184"/>
                    </a:lnTo>
                    <a:lnTo>
                      <a:pt x="43" y="136"/>
                    </a:lnTo>
                    <a:lnTo>
                      <a:pt x="0" y="160"/>
                    </a:lnTo>
                    <a:lnTo>
                      <a:pt x="51" y="216"/>
                    </a:lnTo>
                    <a:lnTo>
                      <a:pt x="144" y="256"/>
                    </a:lnTo>
                    <a:lnTo>
                      <a:pt x="177" y="296"/>
                    </a:lnTo>
                    <a:lnTo>
                      <a:pt x="177" y="336"/>
                    </a:lnTo>
                    <a:lnTo>
                      <a:pt x="220" y="368"/>
                    </a:lnTo>
                    <a:lnTo>
                      <a:pt x="220" y="416"/>
                    </a:lnTo>
                    <a:lnTo>
                      <a:pt x="228" y="464"/>
                    </a:lnTo>
                    <a:lnTo>
                      <a:pt x="245" y="504"/>
                    </a:lnTo>
                    <a:lnTo>
                      <a:pt x="262" y="552"/>
                    </a:lnTo>
                    <a:lnTo>
                      <a:pt x="295" y="560"/>
                    </a:lnTo>
                    <a:lnTo>
                      <a:pt x="329" y="576"/>
                    </a:lnTo>
                    <a:lnTo>
                      <a:pt x="354" y="584"/>
                    </a:lnTo>
                    <a:lnTo>
                      <a:pt x="354" y="600"/>
                    </a:lnTo>
                    <a:lnTo>
                      <a:pt x="363" y="616"/>
                    </a:lnTo>
                    <a:lnTo>
                      <a:pt x="354" y="632"/>
                    </a:lnTo>
                    <a:lnTo>
                      <a:pt x="321" y="696"/>
                    </a:lnTo>
                    <a:lnTo>
                      <a:pt x="236" y="832"/>
                    </a:lnTo>
                    <a:lnTo>
                      <a:pt x="203" y="864"/>
                    </a:lnTo>
                    <a:lnTo>
                      <a:pt x="177" y="896"/>
                    </a:lnTo>
                    <a:lnTo>
                      <a:pt x="177" y="936"/>
                    </a:lnTo>
                    <a:lnTo>
                      <a:pt x="186" y="976"/>
                    </a:lnTo>
                    <a:lnTo>
                      <a:pt x="211" y="1048"/>
                    </a:lnTo>
                    <a:lnTo>
                      <a:pt x="228" y="1080"/>
                    </a:lnTo>
                    <a:lnTo>
                      <a:pt x="228" y="1120"/>
                    </a:lnTo>
                    <a:lnTo>
                      <a:pt x="236" y="1160"/>
                    </a:lnTo>
                    <a:lnTo>
                      <a:pt x="253" y="1192"/>
                    </a:lnTo>
                    <a:lnTo>
                      <a:pt x="287" y="1208"/>
                    </a:lnTo>
                    <a:lnTo>
                      <a:pt x="321" y="1224"/>
                    </a:lnTo>
                    <a:lnTo>
                      <a:pt x="312" y="1272"/>
                    </a:lnTo>
                    <a:lnTo>
                      <a:pt x="363" y="1272"/>
                    </a:lnTo>
                    <a:lnTo>
                      <a:pt x="380" y="1264"/>
                    </a:lnTo>
                    <a:lnTo>
                      <a:pt x="405" y="1248"/>
                    </a:lnTo>
                    <a:lnTo>
                      <a:pt x="506" y="1192"/>
                    </a:lnTo>
                    <a:lnTo>
                      <a:pt x="599" y="1152"/>
                    </a:lnTo>
                    <a:lnTo>
                      <a:pt x="675" y="1112"/>
                    </a:lnTo>
                    <a:lnTo>
                      <a:pt x="700" y="1016"/>
                    </a:lnTo>
                    <a:lnTo>
                      <a:pt x="750" y="944"/>
                    </a:lnTo>
                    <a:lnTo>
                      <a:pt x="793" y="872"/>
                    </a:lnTo>
                    <a:lnTo>
                      <a:pt x="801" y="808"/>
                    </a:lnTo>
                    <a:lnTo>
                      <a:pt x="750" y="76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Freeform 101">
                <a:extLst>
                  <a:ext uri="{FF2B5EF4-FFF2-40B4-BE49-F238E27FC236}">
                    <a16:creationId xmlns:a16="http://schemas.microsoft.com/office/drawing/2014/main" id="{979993B7-C933-E656-A3FB-46D5234C6B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4236" y="1170635"/>
                <a:ext cx="964681" cy="2367725"/>
              </a:xfrm>
              <a:custGeom>
                <a:avLst/>
                <a:gdLst>
                  <a:gd name="T0" fmla="*/ 354 w 691"/>
                  <a:gd name="T1" fmla="*/ 72 h 1696"/>
                  <a:gd name="T2" fmla="*/ 295 w 691"/>
                  <a:gd name="T3" fmla="*/ 128 h 1696"/>
                  <a:gd name="T4" fmla="*/ 261 w 691"/>
                  <a:gd name="T5" fmla="*/ 216 h 1696"/>
                  <a:gd name="T6" fmla="*/ 210 w 691"/>
                  <a:gd name="T7" fmla="*/ 312 h 1696"/>
                  <a:gd name="T8" fmla="*/ 168 w 691"/>
                  <a:gd name="T9" fmla="*/ 400 h 1696"/>
                  <a:gd name="T10" fmla="*/ 118 w 691"/>
                  <a:gd name="T11" fmla="*/ 576 h 1696"/>
                  <a:gd name="T12" fmla="*/ 143 w 691"/>
                  <a:gd name="T13" fmla="*/ 656 h 1696"/>
                  <a:gd name="T14" fmla="*/ 33 w 691"/>
                  <a:gd name="T15" fmla="*/ 736 h 1696"/>
                  <a:gd name="T16" fmla="*/ 50 w 691"/>
                  <a:gd name="T17" fmla="*/ 936 h 1696"/>
                  <a:gd name="T18" fmla="*/ 92 w 691"/>
                  <a:gd name="T19" fmla="*/ 1016 h 1696"/>
                  <a:gd name="T20" fmla="*/ 67 w 691"/>
                  <a:gd name="T21" fmla="*/ 1144 h 1696"/>
                  <a:gd name="T22" fmla="*/ 17 w 691"/>
                  <a:gd name="T23" fmla="*/ 1272 h 1696"/>
                  <a:gd name="T24" fmla="*/ 8 w 691"/>
                  <a:gd name="T25" fmla="*/ 1328 h 1696"/>
                  <a:gd name="T26" fmla="*/ 42 w 691"/>
                  <a:gd name="T27" fmla="*/ 1376 h 1696"/>
                  <a:gd name="T28" fmla="*/ 84 w 691"/>
                  <a:gd name="T29" fmla="*/ 1504 h 1696"/>
                  <a:gd name="T30" fmla="*/ 118 w 691"/>
                  <a:gd name="T31" fmla="*/ 1568 h 1696"/>
                  <a:gd name="T32" fmla="*/ 109 w 691"/>
                  <a:gd name="T33" fmla="*/ 1616 h 1696"/>
                  <a:gd name="T34" fmla="*/ 135 w 691"/>
                  <a:gd name="T35" fmla="*/ 1664 h 1696"/>
                  <a:gd name="T36" fmla="*/ 202 w 691"/>
                  <a:gd name="T37" fmla="*/ 1696 h 1696"/>
                  <a:gd name="T38" fmla="*/ 244 w 691"/>
                  <a:gd name="T39" fmla="*/ 1648 h 1696"/>
                  <a:gd name="T40" fmla="*/ 286 w 691"/>
                  <a:gd name="T41" fmla="*/ 1600 h 1696"/>
                  <a:gd name="T42" fmla="*/ 387 w 691"/>
                  <a:gd name="T43" fmla="*/ 1472 h 1696"/>
                  <a:gd name="T44" fmla="*/ 387 w 691"/>
                  <a:gd name="T45" fmla="*/ 1408 h 1696"/>
                  <a:gd name="T46" fmla="*/ 396 w 691"/>
                  <a:gd name="T47" fmla="*/ 1336 h 1696"/>
                  <a:gd name="T48" fmla="*/ 421 w 691"/>
                  <a:gd name="T49" fmla="*/ 1272 h 1696"/>
                  <a:gd name="T50" fmla="*/ 497 w 691"/>
                  <a:gd name="T51" fmla="*/ 1224 h 1696"/>
                  <a:gd name="T52" fmla="*/ 505 w 691"/>
                  <a:gd name="T53" fmla="*/ 1168 h 1696"/>
                  <a:gd name="T54" fmla="*/ 480 w 691"/>
                  <a:gd name="T55" fmla="*/ 1088 h 1696"/>
                  <a:gd name="T56" fmla="*/ 396 w 691"/>
                  <a:gd name="T57" fmla="*/ 1040 h 1696"/>
                  <a:gd name="T58" fmla="*/ 387 w 691"/>
                  <a:gd name="T59" fmla="*/ 984 h 1696"/>
                  <a:gd name="T60" fmla="*/ 387 w 691"/>
                  <a:gd name="T61" fmla="*/ 832 h 1696"/>
                  <a:gd name="T62" fmla="*/ 480 w 691"/>
                  <a:gd name="T63" fmla="*/ 704 h 1696"/>
                  <a:gd name="T64" fmla="*/ 556 w 691"/>
                  <a:gd name="T65" fmla="*/ 624 h 1696"/>
                  <a:gd name="T66" fmla="*/ 581 w 691"/>
                  <a:gd name="T67" fmla="*/ 560 h 1696"/>
                  <a:gd name="T68" fmla="*/ 573 w 691"/>
                  <a:gd name="T69" fmla="*/ 496 h 1696"/>
                  <a:gd name="T70" fmla="*/ 606 w 691"/>
                  <a:gd name="T71" fmla="*/ 424 h 1696"/>
                  <a:gd name="T72" fmla="*/ 682 w 691"/>
                  <a:gd name="T73" fmla="*/ 376 h 1696"/>
                  <a:gd name="T74" fmla="*/ 674 w 691"/>
                  <a:gd name="T75" fmla="*/ 328 h 1696"/>
                  <a:gd name="T76" fmla="*/ 649 w 691"/>
                  <a:gd name="T77" fmla="*/ 240 h 1696"/>
                  <a:gd name="T78" fmla="*/ 606 w 691"/>
                  <a:gd name="T79" fmla="*/ 160 h 1696"/>
                  <a:gd name="T80" fmla="*/ 573 w 691"/>
                  <a:gd name="T81" fmla="*/ 80 h 1696"/>
                  <a:gd name="T82" fmla="*/ 446 w 691"/>
                  <a:gd name="T83" fmla="*/ 0 h 1696"/>
                  <a:gd name="T84" fmla="*/ 429 w 691"/>
                  <a:gd name="T85" fmla="*/ 88 h 169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691" h="1696">
                    <a:moveTo>
                      <a:pt x="429" y="88"/>
                    </a:moveTo>
                    <a:lnTo>
                      <a:pt x="354" y="72"/>
                    </a:lnTo>
                    <a:lnTo>
                      <a:pt x="337" y="128"/>
                    </a:lnTo>
                    <a:lnTo>
                      <a:pt x="295" y="128"/>
                    </a:lnTo>
                    <a:lnTo>
                      <a:pt x="261" y="168"/>
                    </a:lnTo>
                    <a:lnTo>
                      <a:pt x="261" y="216"/>
                    </a:lnTo>
                    <a:lnTo>
                      <a:pt x="269" y="256"/>
                    </a:lnTo>
                    <a:lnTo>
                      <a:pt x="210" y="312"/>
                    </a:lnTo>
                    <a:lnTo>
                      <a:pt x="210" y="376"/>
                    </a:lnTo>
                    <a:lnTo>
                      <a:pt x="168" y="400"/>
                    </a:lnTo>
                    <a:lnTo>
                      <a:pt x="168" y="496"/>
                    </a:lnTo>
                    <a:lnTo>
                      <a:pt x="118" y="576"/>
                    </a:lnTo>
                    <a:lnTo>
                      <a:pt x="160" y="600"/>
                    </a:lnTo>
                    <a:lnTo>
                      <a:pt x="143" y="656"/>
                    </a:lnTo>
                    <a:lnTo>
                      <a:pt x="67" y="664"/>
                    </a:lnTo>
                    <a:lnTo>
                      <a:pt x="33" y="736"/>
                    </a:lnTo>
                    <a:lnTo>
                      <a:pt x="50" y="856"/>
                    </a:lnTo>
                    <a:lnTo>
                      <a:pt x="50" y="936"/>
                    </a:lnTo>
                    <a:lnTo>
                      <a:pt x="92" y="976"/>
                    </a:lnTo>
                    <a:lnTo>
                      <a:pt x="92" y="1016"/>
                    </a:lnTo>
                    <a:lnTo>
                      <a:pt x="67" y="1056"/>
                    </a:lnTo>
                    <a:lnTo>
                      <a:pt x="67" y="1144"/>
                    </a:lnTo>
                    <a:lnTo>
                      <a:pt x="33" y="1176"/>
                    </a:lnTo>
                    <a:lnTo>
                      <a:pt x="17" y="1272"/>
                    </a:lnTo>
                    <a:lnTo>
                      <a:pt x="0" y="1280"/>
                    </a:lnTo>
                    <a:lnTo>
                      <a:pt x="8" y="1328"/>
                    </a:lnTo>
                    <a:lnTo>
                      <a:pt x="33" y="1352"/>
                    </a:lnTo>
                    <a:lnTo>
                      <a:pt x="42" y="1376"/>
                    </a:lnTo>
                    <a:lnTo>
                      <a:pt x="42" y="1440"/>
                    </a:lnTo>
                    <a:lnTo>
                      <a:pt x="84" y="1504"/>
                    </a:lnTo>
                    <a:lnTo>
                      <a:pt x="109" y="1536"/>
                    </a:lnTo>
                    <a:lnTo>
                      <a:pt x="118" y="1568"/>
                    </a:lnTo>
                    <a:lnTo>
                      <a:pt x="109" y="1592"/>
                    </a:lnTo>
                    <a:lnTo>
                      <a:pt x="109" y="1616"/>
                    </a:lnTo>
                    <a:lnTo>
                      <a:pt x="126" y="1632"/>
                    </a:lnTo>
                    <a:lnTo>
                      <a:pt x="135" y="1664"/>
                    </a:lnTo>
                    <a:lnTo>
                      <a:pt x="135" y="1696"/>
                    </a:lnTo>
                    <a:lnTo>
                      <a:pt x="202" y="1696"/>
                    </a:lnTo>
                    <a:lnTo>
                      <a:pt x="236" y="1680"/>
                    </a:lnTo>
                    <a:lnTo>
                      <a:pt x="244" y="1648"/>
                    </a:lnTo>
                    <a:lnTo>
                      <a:pt x="261" y="1616"/>
                    </a:lnTo>
                    <a:lnTo>
                      <a:pt x="286" y="1600"/>
                    </a:lnTo>
                    <a:lnTo>
                      <a:pt x="354" y="1608"/>
                    </a:lnTo>
                    <a:lnTo>
                      <a:pt x="387" y="1472"/>
                    </a:lnTo>
                    <a:lnTo>
                      <a:pt x="396" y="1440"/>
                    </a:lnTo>
                    <a:lnTo>
                      <a:pt x="387" y="1408"/>
                    </a:lnTo>
                    <a:lnTo>
                      <a:pt x="387" y="1368"/>
                    </a:lnTo>
                    <a:lnTo>
                      <a:pt x="396" y="1336"/>
                    </a:lnTo>
                    <a:lnTo>
                      <a:pt x="404" y="1296"/>
                    </a:lnTo>
                    <a:lnTo>
                      <a:pt x="421" y="1272"/>
                    </a:lnTo>
                    <a:lnTo>
                      <a:pt x="472" y="1240"/>
                    </a:lnTo>
                    <a:lnTo>
                      <a:pt x="497" y="1224"/>
                    </a:lnTo>
                    <a:lnTo>
                      <a:pt x="497" y="1192"/>
                    </a:lnTo>
                    <a:lnTo>
                      <a:pt x="505" y="1168"/>
                    </a:lnTo>
                    <a:lnTo>
                      <a:pt x="522" y="1144"/>
                    </a:lnTo>
                    <a:lnTo>
                      <a:pt x="480" y="1088"/>
                    </a:lnTo>
                    <a:lnTo>
                      <a:pt x="413" y="1048"/>
                    </a:lnTo>
                    <a:lnTo>
                      <a:pt x="396" y="1040"/>
                    </a:lnTo>
                    <a:lnTo>
                      <a:pt x="387" y="1024"/>
                    </a:lnTo>
                    <a:lnTo>
                      <a:pt x="387" y="984"/>
                    </a:lnTo>
                    <a:lnTo>
                      <a:pt x="379" y="904"/>
                    </a:lnTo>
                    <a:lnTo>
                      <a:pt x="387" y="832"/>
                    </a:lnTo>
                    <a:lnTo>
                      <a:pt x="429" y="760"/>
                    </a:lnTo>
                    <a:lnTo>
                      <a:pt x="480" y="704"/>
                    </a:lnTo>
                    <a:lnTo>
                      <a:pt x="539" y="648"/>
                    </a:lnTo>
                    <a:lnTo>
                      <a:pt x="556" y="624"/>
                    </a:lnTo>
                    <a:lnTo>
                      <a:pt x="564" y="584"/>
                    </a:lnTo>
                    <a:lnTo>
                      <a:pt x="581" y="560"/>
                    </a:lnTo>
                    <a:lnTo>
                      <a:pt x="581" y="536"/>
                    </a:lnTo>
                    <a:lnTo>
                      <a:pt x="573" y="496"/>
                    </a:lnTo>
                    <a:lnTo>
                      <a:pt x="581" y="464"/>
                    </a:lnTo>
                    <a:lnTo>
                      <a:pt x="606" y="424"/>
                    </a:lnTo>
                    <a:lnTo>
                      <a:pt x="615" y="384"/>
                    </a:lnTo>
                    <a:lnTo>
                      <a:pt x="682" y="376"/>
                    </a:lnTo>
                    <a:lnTo>
                      <a:pt x="691" y="376"/>
                    </a:lnTo>
                    <a:lnTo>
                      <a:pt x="674" y="328"/>
                    </a:lnTo>
                    <a:lnTo>
                      <a:pt x="657" y="288"/>
                    </a:lnTo>
                    <a:lnTo>
                      <a:pt x="649" y="240"/>
                    </a:lnTo>
                    <a:lnTo>
                      <a:pt x="649" y="192"/>
                    </a:lnTo>
                    <a:lnTo>
                      <a:pt x="606" y="160"/>
                    </a:lnTo>
                    <a:lnTo>
                      <a:pt x="606" y="120"/>
                    </a:lnTo>
                    <a:lnTo>
                      <a:pt x="573" y="80"/>
                    </a:lnTo>
                    <a:lnTo>
                      <a:pt x="480" y="40"/>
                    </a:lnTo>
                    <a:lnTo>
                      <a:pt x="446" y="0"/>
                    </a:lnTo>
                    <a:lnTo>
                      <a:pt x="429" y="8"/>
                    </a:lnTo>
                    <a:lnTo>
                      <a:pt x="429" y="8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Freeform 102">
                <a:extLst>
                  <a:ext uri="{FF2B5EF4-FFF2-40B4-BE49-F238E27FC236}">
                    <a16:creationId xmlns:a16="http://schemas.microsoft.com/office/drawing/2014/main" id="{F048E159-846E-8294-2387-7C4E31B938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37894" y="1792869"/>
                <a:ext cx="1118248" cy="1775794"/>
              </a:xfrm>
              <a:custGeom>
                <a:avLst/>
                <a:gdLst>
                  <a:gd name="T0" fmla="*/ 683 w 801"/>
                  <a:gd name="T1" fmla="*/ 720 h 1272"/>
                  <a:gd name="T2" fmla="*/ 658 w 801"/>
                  <a:gd name="T3" fmla="*/ 616 h 1272"/>
                  <a:gd name="T4" fmla="*/ 582 w 801"/>
                  <a:gd name="T5" fmla="*/ 520 h 1272"/>
                  <a:gd name="T6" fmla="*/ 557 w 801"/>
                  <a:gd name="T7" fmla="*/ 408 h 1272"/>
                  <a:gd name="T8" fmla="*/ 523 w 801"/>
                  <a:gd name="T9" fmla="*/ 256 h 1272"/>
                  <a:gd name="T10" fmla="*/ 439 w 801"/>
                  <a:gd name="T11" fmla="*/ 200 h 1272"/>
                  <a:gd name="T12" fmla="*/ 422 w 801"/>
                  <a:gd name="T13" fmla="*/ 88 h 1272"/>
                  <a:gd name="T14" fmla="*/ 413 w 801"/>
                  <a:gd name="T15" fmla="*/ 32 h 1272"/>
                  <a:gd name="T16" fmla="*/ 295 w 801"/>
                  <a:gd name="T17" fmla="*/ 0 h 1272"/>
                  <a:gd name="T18" fmla="*/ 262 w 801"/>
                  <a:gd name="T19" fmla="*/ 112 h 1272"/>
                  <a:gd name="T20" fmla="*/ 186 w 801"/>
                  <a:gd name="T21" fmla="*/ 168 h 1272"/>
                  <a:gd name="T22" fmla="*/ 43 w 801"/>
                  <a:gd name="T23" fmla="*/ 136 h 1272"/>
                  <a:gd name="T24" fmla="*/ 51 w 801"/>
                  <a:gd name="T25" fmla="*/ 216 h 1272"/>
                  <a:gd name="T26" fmla="*/ 177 w 801"/>
                  <a:gd name="T27" fmla="*/ 296 h 1272"/>
                  <a:gd name="T28" fmla="*/ 220 w 801"/>
                  <a:gd name="T29" fmla="*/ 368 h 1272"/>
                  <a:gd name="T30" fmla="*/ 228 w 801"/>
                  <a:gd name="T31" fmla="*/ 464 h 1272"/>
                  <a:gd name="T32" fmla="*/ 262 w 801"/>
                  <a:gd name="T33" fmla="*/ 552 h 1272"/>
                  <a:gd name="T34" fmla="*/ 329 w 801"/>
                  <a:gd name="T35" fmla="*/ 576 h 1272"/>
                  <a:gd name="T36" fmla="*/ 354 w 801"/>
                  <a:gd name="T37" fmla="*/ 600 h 1272"/>
                  <a:gd name="T38" fmla="*/ 354 w 801"/>
                  <a:gd name="T39" fmla="*/ 632 h 1272"/>
                  <a:gd name="T40" fmla="*/ 236 w 801"/>
                  <a:gd name="T41" fmla="*/ 832 h 1272"/>
                  <a:gd name="T42" fmla="*/ 177 w 801"/>
                  <a:gd name="T43" fmla="*/ 896 h 1272"/>
                  <a:gd name="T44" fmla="*/ 186 w 801"/>
                  <a:gd name="T45" fmla="*/ 976 h 1272"/>
                  <a:gd name="T46" fmla="*/ 228 w 801"/>
                  <a:gd name="T47" fmla="*/ 1080 h 1272"/>
                  <a:gd name="T48" fmla="*/ 236 w 801"/>
                  <a:gd name="T49" fmla="*/ 1160 h 1272"/>
                  <a:gd name="T50" fmla="*/ 287 w 801"/>
                  <a:gd name="T51" fmla="*/ 1208 h 1272"/>
                  <a:gd name="T52" fmla="*/ 312 w 801"/>
                  <a:gd name="T53" fmla="*/ 1272 h 1272"/>
                  <a:gd name="T54" fmla="*/ 380 w 801"/>
                  <a:gd name="T55" fmla="*/ 1264 h 1272"/>
                  <a:gd name="T56" fmla="*/ 506 w 801"/>
                  <a:gd name="T57" fmla="*/ 1192 h 1272"/>
                  <a:gd name="T58" fmla="*/ 675 w 801"/>
                  <a:gd name="T59" fmla="*/ 1112 h 1272"/>
                  <a:gd name="T60" fmla="*/ 750 w 801"/>
                  <a:gd name="T61" fmla="*/ 944 h 1272"/>
                  <a:gd name="T62" fmla="*/ 801 w 801"/>
                  <a:gd name="T63" fmla="*/ 808 h 127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801" h="1272">
                    <a:moveTo>
                      <a:pt x="750" y="760"/>
                    </a:moveTo>
                    <a:lnTo>
                      <a:pt x="683" y="720"/>
                    </a:lnTo>
                    <a:lnTo>
                      <a:pt x="700" y="672"/>
                    </a:lnTo>
                    <a:lnTo>
                      <a:pt x="658" y="616"/>
                    </a:lnTo>
                    <a:lnTo>
                      <a:pt x="590" y="576"/>
                    </a:lnTo>
                    <a:lnTo>
                      <a:pt x="582" y="520"/>
                    </a:lnTo>
                    <a:lnTo>
                      <a:pt x="624" y="472"/>
                    </a:lnTo>
                    <a:lnTo>
                      <a:pt x="557" y="408"/>
                    </a:lnTo>
                    <a:lnTo>
                      <a:pt x="506" y="312"/>
                    </a:lnTo>
                    <a:lnTo>
                      <a:pt x="523" y="256"/>
                    </a:lnTo>
                    <a:lnTo>
                      <a:pt x="481" y="216"/>
                    </a:lnTo>
                    <a:lnTo>
                      <a:pt x="439" y="200"/>
                    </a:lnTo>
                    <a:lnTo>
                      <a:pt x="413" y="136"/>
                    </a:lnTo>
                    <a:lnTo>
                      <a:pt x="422" y="88"/>
                    </a:lnTo>
                    <a:lnTo>
                      <a:pt x="430" y="72"/>
                    </a:lnTo>
                    <a:lnTo>
                      <a:pt x="413" y="32"/>
                    </a:lnTo>
                    <a:lnTo>
                      <a:pt x="346" y="0"/>
                    </a:lnTo>
                    <a:lnTo>
                      <a:pt x="295" y="0"/>
                    </a:lnTo>
                    <a:lnTo>
                      <a:pt x="262" y="40"/>
                    </a:lnTo>
                    <a:lnTo>
                      <a:pt x="262" y="112"/>
                    </a:lnTo>
                    <a:lnTo>
                      <a:pt x="245" y="184"/>
                    </a:lnTo>
                    <a:lnTo>
                      <a:pt x="186" y="168"/>
                    </a:lnTo>
                    <a:lnTo>
                      <a:pt x="144" y="184"/>
                    </a:lnTo>
                    <a:lnTo>
                      <a:pt x="43" y="136"/>
                    </a:lnTo>
                    <a:lnTo>
                      <a:pt x="0" y="160"/>
                    </a:lnTo>
                    <a:lnTo>
                      <a:pt x="51" y="216"/>
                    </a:lnTo>
                    <a:lnTo>
                      <a:pt x="144" y="256"/>
                    </a:lnTo>
                    <a:lnTo>
                      <a:pt x="177" y="296"/>
                    </a:lnTo>
                    <a:lnTo>
                      <a:pt x="177" y="336"/>
                    </a:lnTo>
                    <a:lnTo>
                      <a:pt x="220" y="368"/>
                    </a:lnTo>
                    <a:lnTo>
                      <a:pt x="220" y="416"/>
                    </a:lnTo>
                    <a:lnTo>
                      <a:pt x="228" y="464"/>
                    </a:lnTo>
                    <a:lnTo>
                      <a:pt x="245" y="504"/>
                    </a:lnTo>
                    <a:lnTo>
                      <a:pt x="262" y="552"/>
                    </a:lnTo>
                    <a:lnTo>
                      <a:pt x="295" y="560"/>
                    </a:lnTo>
                    <a:lnTo>
                      <a:pt x="329" y="576"/>
                    </a:lnTo>
                    <a:lnTo>
                      <a:pt x="354" y="584"/>
                    </a:lnTo>
                    <a:lnTo>
                      <a:pt x="354" y="600"/>
                    </a:lnTo>
                    <a:lnTo>
                      <a:pt x="363" y="616"/>
                    </a:lnTo>
                    <a:lnTo>
                      <a:pt x="354" y="632"/>
                    </a:lnTo>
                    <a:lnTo>
                      <a:pt x="321" y="696"/>
                    </a:lnTo>
                    <a:lnTo>
                      <a:pt x="236" y="832"/>
                    </a:lnTo>
                    <a:lnTo>
                      <a:pt x="203" y="864"/>
                    </a:lnTo>
                    <a:lnTo>
                      <a:pt x="177" y="896"/>
                    </a:lnTo>
                    <a:lnTo>
                      <a:pt x="177" y="936"/>
                    </a:lnTo>
                    <a:lnTo>
                      <a:pt x="186" y="976"/>
                    </a:lnTo>
                    <a:lnTo>
                      <a:pt x="211" y="1048"/>
                    </a:lnTo>
                    <a:lnTo>
                      <a:pt x="228" y="1080"/>
                    </a:lnTo>
                    <a:lnTo>
                      <a:pt x="228" y="1120"/>
                    </a:lnTo>
                    <a:lnTo>
                      <a:pt x="236" y="1160"/>
                    </a:lnTo>
                    <a:lnTo>
                      <a:pt x="253" y="1192"/>
                    </a:lnTo>
                    <a:lnTo>
                      <a:pt x="287" y="1208"/>
                    </a:lnTo>
                    <a:lnTo>
                      <a:pt x="321" y="1224"/>
                    </a:lnTo>
                    <a:lnTo>
                      <a:pt x="312" y="1272"/>
                    </a:lnTo>
                    <a:lnTo>
                      <a:pt x="363" y="1272"/>
                    </a:lnTo>
                    <a:lnTo>
                      <a:pt x="380" y="1264"/>
                    </a:lnTo>
                    <a:lnTo>
                      <a:pt x="405" y="1248"/>
                    </a:lnTo>
                    <a:lnTo>
                      <a:pt x="506" y="1192"/>
                    </a:lnTo>
                    <a:lnTo>
                      <a:pt x="599" y="1152"/>
                    </a:lnTo>
                    <a:lnTo>
                      <a:pt x="675" y="1112"/>
                    </a:lnTo>
                    <a:lnTo>
                      <a:pt x="700" y="1016"/>
                    </a:lnTo>
                    <a:lnTo>
                      <a:pt x="750" y="944"/>
                    </a:lnTo>
                    <a:lnTo>
                      <a:pt x="793" y="872"/>
                    </a:lnTo>
                    <a:lnTo>
                      <a:pt x="801" y="808"/>
                    </a:lnTo>
                    <a:lnTo>
                      <a:pt x="750" y="760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Freeform 103">
                <a:extLst>
                  <a:ext uri="{FF2B5EF4-FFF2-40B4-BE49-F238E27FC236}">
                    <a16:creationId xmlns:a16="http://schemas.microsoft.com/office/drawing/2014/main" id="{4BD09D24-ED64-6CE4-CD44-2A8D49B50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4236" y="1159467"/>
                <a:ext cx="964681" cy="2367725"/>
              </a:xfrm>
              <a:custGeom>
                <a:avLst/>
                <a:gdLst>
                  <a:gd name="T0" fmla="*/ 354 w 691"/>
                  <a:gd name="T1" fmla="*/ 72 h 1696"/>
                  <a:gd name="T2" fmla="*/ 295 w 691"/>
                  <a:gd name="T3" fmla="*/ 128 h 1696"/>
                  <a:gd name="T4" fmla="*/ 261 w 691"/>
                  <a:gd name="T5" fmla="*/ 216 h 1696"/>
                  <a:gd name="T6" fmla="*/ 210 w 691"/>
                  <a:gd name="T7" fmla="*/ 312 h 1696"/>
                  <a:gd name="T8" fmla="*/ 168 w 691"/>
                  <a:gd name="T9" fmla="*/ 400 h 1696"/>
                  <a:gd name="T10" fmla="*/ 118 w 691"/>
                  <a:gd name="T11" fmla="*/ 576 h 1696"/>
                  <a:gd name="T12" fmla="*/ 143 w 691"/>
                  <a:gd name="T13" fmla="*/ 656 h 1696"/>
                  <a:gd name="T14" fmla="*/ 33 w 691"/>
                  <a:gd name="T15" fmla="*/ 736 h 1696"/>
                  <a:gd name="T16" fmla="*/ 50 w 691"/>
                  <a:gd name="T17" fmla="*/ 936 h 1696"/>
                  <a:gd name="T18" fmla="*/ 92 w 691"/>
                  <a:gd name="T19" fmla="*/ 1016 h 1696"/>
                  <a:gd name="T20" fmla="*/ 67 w 691"/>
                  <a:gd name="T21" fmla="*/ 1144 h 1696"/>
                  <a:gd name="T22" fmla="*/ 17 w 691"/>
                  <a:gd name="T23" fmla="*/ 1272 h 1696"/>
                  <a:gd name="T24" fmla="*/ 8 w 691"/>
                  <a:gd name="T25" fmla="*/ 1328 h 1696"/>
                  <a:gd name="T26" fmla="*/ 42 w 691"/>
                  <a:gd name="T27" fmla="*/ 1376 h 1696"/>
                  <a:gd name="T28" fmla="*/ 84 w 691"/>
                  <a:gd name="T29" fmla="*/ 1504 h 1696"/>
                  <a:gd name="T30" fmla="*/ 118 w 691"/>
                  <a:gd name="T31" fmla="*/ 1568 h 1696"/>
                  <a:gd name="T32" fmla="*/ 109 w 691"/>
                  <a:gd name="T33" fmla="*/ 1616 h 1696"/>
                  <a:gd name="T34" fmla="*/ 135 w 691"/>
                  <a:gd name="T35" fmla="*/ 1664 h 1696"/>
                  <a:gd name="T36" fmla="*/ 202 w 691"/>
                  <a:gd name="T37" fmla="*/ 1696 h 1696"/>
                  <a:gd name="T38" fmla="*/ 244 w 691"/>
                  <a:gd name="T39" fmla="*/ 1648 h 1696"/>
                  <a:gd name="T40" fmla="*/ 286 w 691"/>
                  <a:gd name="T41" fmla="*/ 1600 h 1696"/>
                  <a:gd name="T42" fmla="*/ 387 w 691"/>
                  <a:gd name="T43" fmla="*/ 1472 h 1696"/>
                  <a:gd name="T44" fmla="*/ 387 w 691"/>
                  <a:gd name="T45" fmla="*/ 1408 h 1696"/>
                  <a:gd name="T46" fmla="*/ 396 w 691"/>
                  <a:gd name="T47" fmla="*/ 1336 h 1696"/>
                  <a:gd name="T48" fmla="*/ 421 w 691"/>
                  <a:gd name="T49" fmla="*/ 1272 h 1696"/>
                  <a:gd name="T50" fmla="*/ 497 w 691"/>
                  <a:gd name="T51" fmla="*/ 1224 h 1696"/>
                  <a:gd name="T52" fmla="*/ 505 w 691"/>
                  <a:gd name="T53" fmla="*/ 1168 h 1696"/>
                  <a:gd name="T54" fmla="*/ 480 w 691"/>
                  <a:gd name="T55" fmla="*/ 1088 h 1696"/>
                  <a:gd name="T56" fmla="*/ 396 w 691"/>
                  <a:gd name="T57" fmla="*/ 1040 h 1696"/>
                  <a:gd name="T58" fmla="*/ 387 w 691"/>
                  <a:gd name="T59" fmla="*/ 984 h 1696"/>
                  <a:gd name="T60" fmla="*/ 387 w 691"/>
                  <a:gd name="T61" fmla="*/ 832 h 1696"/>
                  <a:gd name="T62" fmla="*/ 480 w 691"/>
                  <a:gd name="T63" fmla="*/ 704 h 1696"/>
                  <a:gd name="T64" fmla="*/ 556 w 691"/>
                  <a:gd name="T65" fmla="*/ 624 h 1696"/>
                  <a:gd name="T66" fmla="*/ 581 w 691"/>
                  <a:gd name="T67" fmla="*/ 560 h 1696"/>
                  <a:gd name="T68" fmla="*/ 573 w 691"/>
                  <a:gd name="T69" fmla="*/ 496 h 1696"/>
                  <a:gd name="T70" fmla="*/ 606 w 691"/>
                  <a:gd name="T71" fmla="*/ 424 h 1696"/>
                  <a:gd name="T72" fmla="*/ 682 w 691"/>
                  <a:gd name="T73" fmla="*/ 376 h 1696"/>
                  <a:gd name="T74" fmla="*/ 674 w 691"/>
                  <a:gd name="T75" fmla="*/ 328 h 1696"/>
                  <a:gd name="T76" fmla="*/ 649 w 691"/>
                  <a:gd name="T77" fmla="*/ 240 h 1696"/>
                  <a:gd name="T78" fmla="*/ 606 w 691"/>
                  <a:gd name="T79" fmla="*/ 160 h 1696"/>
                  <a:gd name="T80" fmla="*/ 573 w 691"/>
                  <a:gd name="T81" fmla="*/ 80 h 1696"/>
                  <a:gd name="T82" fmla="*/ 446 w 691"/>
                  <a:gd name="T83" fmla="*/ 0 h 1696"/>
                  <a:gd name="T84" fmla="*/ 429 w 691"/>
                  <a:gd name="T85" fmla="*/ 88 h 169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691" h="1696">
                    <a:moveTo>
                      <a:pt x="429" y="88"/>
                    </a:moveTo>
                    <a:lnTo>
                      <a:pt x="354" y="72"/>
                    </a:lnTo>
                    <a:lnTo>
                      <a:pt x="337" y="128"/>
                    </a:lnTo>
                    <a:lnTo>
                      <a:pt x="295" y="128"/>
                    </a:lnTo>
                    <a:lnTo>
                      <a:pt x="261" y="168"/>
                    </a:lnTo>
                    <a:lnTo>
                      <a:pt x="261" y="216"/>
                    </a:lnTo>
                    <a:lnTo>
                      <a:pt x="269" y="256"/>
                    </a:lnTo>
                    <a:lnTo>
                      <a:pt x="210" y="312"/>
                    </a:lnTo>
                    <a:lnTo>
                      <a:pt x="210" y="376"/>
                    </a:lnTo>
                    <a:lnTo>
                      <a:pt x="168" y="400"/>
                    </a:lnTo>
                    <a:lnTo>
                      <a:pt x="168" y="496"/>
                    </a:lnTo>
                    <a:lnTo>
                      <a:pt x="118" y="576"/>
                    </a:lnTo>
                    <a:lnTo>
                      <a:pt x="160" y="600"/>
                    </a:lnTo>
                    <a:lnTo>
                      <a:pt x="143" y="656"/>
                    </a:lnTo>
                    <a:lnTo>
                      <a:pt x="67" y="664"/>
                    </a:lnTo>
                    <a:lnTo>
                      <a:pt x="33" y="736"/>
                    </a:lnTo>
                    <a:lnTo>
                      <a:pt x="50" y="856"/>
                    </a:lnTo>
                    <a:lnTo>
                      <a:pt x="50" y="936"/>
                    </a:lnTo>
                    <a:lnTo>
                      <a:pt x="92" y="976"/>
                    </a:lnTo>
                    <a:lnTo>
                      <a:pt x="92" y="1016"/>
                    </a:lnTo>
                    <a:lnTo>
                      <a:pt x="67" y="1056"/>
                    </a:lnTo>
                    <a:lnTo>
                      <a:pt x="67" y="1144"/>
                    </a:lnTo>
                    <a:lnTo>
                      <a:pt x="33" y="1176"/>
                    </a:lnTo>
                    <a:lnTo>
                      <a:pt x="17" y="1272"/>
                    </a:lnTo>
                    <a:lnTo>
                      <a:pt x="0" y="1280"/>
                    </a:lnTo>
                    <a:lnTo>
                      <a:pt x="8" y="1328"/>
                    </a:lnTo>
                    <a:lnTo>
                      <a:pt x="33" y="1352"/>
                    </a:lnTo>
                    <a:lnTo>
                      <a:pt x="42" y="1376"/>
                    </a:lnTo>
                    <a:lnTo>
                      <a:pt x="42" y="1440"/>
                    </a:lnTo>
                    <a:lnTo>
                      <a:pt x="84" y="1504"/>
                    </a:lnTo>
                    <a:lnTo>
                      <a:pt x="109" y="1536"/>
                    </a:lnTo>
                    <a:lnTo>
                      <a:pt x="118" y="1568"/>
                    </a:lnTo>
                    <a:lnTo>
                      <a:pt x="109" y="1592"/>
                    </a:lnTo>
                    <a:lnTo>
                      <a:pt x="109" y="1616"/>
                    </a:lnTo>
                    <a:lnTo>
                      <a:pt x="126" y="1632"/>
                    </a:lnTo>
                    <a:lnTo>
                      <a:pt x="135" y="1664"/>
                    </a:lnTo>
                    <a:lnTo>
                      <a:pt x="135" y="1696"/>
                    </a:lnTo>
                    <a:lnTo>
                      <a:pt x="202" y="1696"/>
                    </a:lnTo>
                    <a:lnTo>
                      <a:pt x="236" y="1680"/>
                    </a:lnTo>
                    <a:lnTo>
                      <a:pt x="244" y="1648"/>
                    </a:lnTo>
                    <a:lnTo>
                      <a:pt x="261" y="1616"/>
                    </a:lnTo>
                    <a:lnTo>
                      <a:pt x="286" y="1600"/>
                    </a:lnTo>
                    <a:lnTo>
                      <a:pt x="354" y="1608"/>
                    </a:lnTo>
                    <a:lnTo>
                      <a:pt x="387" y="1472"/>
                    </a:lnTo>
                    <a:lnTo>
                      <a:pt x="396" y="1440"/>
                    </a:lnTo>
                    <a:lnTo>
                      <a:pt x="387" y="1408"/>
                    </a:lnTo>
                    <a:lnTo>
                      <a:pt x="387" y="1368"/>
                    </a:lnTo>
                    <a:lnTo>
                      <a:pt x="396" y="1336"/>
                    </a:lnTo>
                    <a:lnTo>
                      <a:pt x="404" y="1296"/>
                    </a:lnTo>
                    <a:lnTo>
                      <a:pt x="421" y="1272"/>
                    </a:lnTo>
                    <a:lnTo>
                      <a:pt x="472" y="1240"/>
                    </a:lnTo>
                    <a:lnTo>
                      <a:pt x="497" y="1224"/>
                    </a:lnTo>
                    <a:lnTo>
                      <a:pt x="497" y="1192"/>
                    </a:lnTo>
                    <a:lnTo>
                      <a:pt x="505" y="1168"/>
                    </a:lnTo>
                    <a:lnTo>
                      <a:pt x="522" y="1144"/>
                    </a:lnTo>
                    <a:lnTo>
                      <a:pt x="480" y="1088"/>
                    </a:lnTo>
                    <a:lnTo>
                      <a:pt x="413" y="1048"/>
                    </a:lnTo>
                    <a:lnTo>
                      <a:pt x="396" y="1040"/>
                    </a:lnTo>
                    <a:lnTo>
                      <a:pt x="387" y="1024"/>
                    </a:lnTo>
                    <a:lnTo>
                      <a:pt x="387" y="984"/>
                    </a:lnTo>
                    <a:lnTo>
                      <a:pt x="379" y="904"/>
                    </a:lnTo>
                    <a:lnTo>
                      <a:pt x="387" y="832"/>
                    </a:lnTo>
                    <a:lnTo>
                      <a:pt x="429" y="760"/>
                    </a:lnTo>
                    <a:lnTo>
                      <a:pt x="480" y="704"/>
                    </a:lnTo>
                    <a:lnTo>
                      <a:pt x="539" y="648"/>
                    </a:lnTo>
                    <a:lnTo>
                      <a:pt x="556" y="624"/>
                    </a:lnTo>
                    <a:lnTo>
                      <a:pt x="564" y="584"/>
                    </a:lnTo>
                    <a:lnTo>
                      <a:pt x="581" y="560"/>
                    </a:lnTo>
                    <a:lnTo>
                      <a:pt x="581" y="536"/>
                    </a:lnTo>
                    <a:lnTo>
                      <a:pt x="573" y="496"/>
                    </a:lnTo>
                    <a:lnTo>
                      <a:pt x="581" y="464"/>
                    </a:lnTo>
                    <a:lnTo>
                      <a:pt x="606" y="424"/>
                    </a:lnTo>
                    <a:lnTo>
                      <a:pt x="615" y="384"/>
                    </a:lnTo>
                    <a:lnTo>
                      <a:pt x="682" y="376"/>
                    </a:lnTo>
                    <a:lnTo>
                      <a:pt x="691" y="376"/>
                    </a:lnTo>
                    <a:lnTo>
                      <a:pt x="674" y="328"/>
                    </a:lnTo>
                    <a:lnTo>
                      <a:pt x="657" y="288"/>
                    </a:lnTo>
                    <a:lnTo>
                      <a:pt x="649" y="240"/>
                    </a:lnTo>
                    <a:lnTo>
                      <a:pt x="649" y="192"/>
                    </a:lnTo>
                    <a:lnTo>
                      <a:pt x="606" y="160"/>
                    </a:lnTo>
                    <a:lnTo>
                      <a:pt x="606" y="120"/>
                    </a:lnTo>
                    <a:lnTo>
                      <a:pt x="573" y="80"/>
                    </a:lnTo>
                    <a:lnTo>
                      <a:pt x="480" y="40"/>
                    </a:lnTo>
                    <a:lnTo>
                      <a:pt x="446" y="0"/>
                    </a:lnTo>
                    <a:lnTo>
                      <a:pt x="429" y="8"/>
                    </a:lnTo>
                    <a:lnTo>
                      <a:pt x="429" y="88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Freeform 104">
                <a:extLst>
                  <a:ext uri="{FF2B5EF4-FFF2-40B4-BE49-F238E27FC236}">
                    <a16:creationId xmlns:a16="http://schemas.microsoft.com/office/drawing/2014/main" id="{8E7A9AD1-CB20-DBB4-ACD8-6421B52855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5096" y="735063"/>
                <a:ext cx="1870727" cy="2356556"/>
              </a:xfrm>
              <a:custGeom>
                <a:avLst/>
                <a:gdLst>
                  <a:gd name="T0" fmla="*/ 1323 w 1340"/>
                  <a:gd name="T1" fmla="*/ 40 h 1688"/>
                  <a:gd name="T2" fmla="*/ 1205 w 1340"/>
                  <a:gd name="T3" fmla="*/ 24 h 1688"/>
                  <a:gd name="T4" fmla="*/ 1172 w 1340"/>
                  <a:gd name="T5" fmla="*/ 0 h 1688"/>
                  <a:gd name="T6" fmla="*/ 1130 w 1340"/>
                  <a:gd name="T7" fmla="*/ 24 h 1688"/>
                  <a:gd name="T8" fmla="*/ 1071 w 1340"/>
                  <a:gd name="T9" fmla="*/ 120 h 1688"/>
                  <a:gd name="T10" fmla="*/ 1012 w 1340"/>
                  <a:gd name="T11" fmla="*/ 40 h 1688"/>
                  <a:gd name="T12" fmla="*/ 961 w 1340"/>
                  <a:gd name="T13" fmla="*/ 136 h 1688"/>
                  <a:gd name="T14" fmla="*/ 877 w 1340"/>
                  <a:gd name="T15" fmla="*/ 184 h 1688"/>
                  <a:gd name="T16" fmla="*/ 809 w 1340"/>
                  <a:gd name="T17" fmla="*/ 176 h 1688"/>
                  <a:gd name="T18" fmla="*/ 717 w 1340"/>
                  <a:gd name="T19" fmla="*/ 248 h 1688"/>
                  <a:gd name="T20" fmla="*/ 700 w 1340"/>
                  <a:gd name="T21" fmla="*/ 328 h 1688"/>
                  <a:gd name="T22" fmla="*/ 645 w 1340"/>
                  <a:gd name="T23" fmla="*/ 418 h 1688"/>
                  <a:gd name="T24" fmla="*/ 590 w 1340"/>
                  <a:gd name="T25" fmla="*/ 504 h 1688"/>
                  <a:gd name="T26" fmla="*/ 565 w 1340"/>
                  <a:gd name="T27" fmla="*/ 560 h 1688"/>
                  <a:gd name="T28" fmla="*/ 472 w 1340"/>
                  <a:gd name="T29" fmla="*/ 744 h 1688"/>
                  <a:gd name="T30" fmla="*/ 396 w 1340"/>
                  <a:gd name="T31" fmla="*/ 848 h 1688"/>
                  <a:gd name="T32" fmla="*/ 396 w 1340"/>
                  <a:gd name="T33" fmla="*/ 896 h 1688"/>
                  <a:gd name="T34" fmla="*/ 304 w 1340"/>
                  <a:gd name="T35" fmla="*/ 1024 h 1688"/>
                  <a:gd name="T36" fmla="*/ 236 w 1340"/>
                  <a:gd name="T37" fmla="*/ 1032 h 1688"/>
                  <a:gd name="T38" fmla="*/ 186 w 1340"/>
                  <a:gd name="T39" fmla="*/ 1088 h 1688"/>
                  <a:gd name="T40" fmla="*/ 93 w 1340"/>
                  <a:gd name="T41" fmla="*/ 1144 h 1688"/>
                  <a:gd name="T42" fmla="*/ 26 w 1340"/>
                  <a:gd name="T43" fmla="*/ 1200 h 1688"/>
                  <a:gd name="T44" fmla="*/ 9 w 1340"/>
                  <a:gd name="T45" fmla="*/ 1264 h 1688"/>
                  <a:gd name="T46" fmla="*/ 9 w 1340"/>
                  <a:gd name="T47" fmla="*/ 1304 h 1688"/>
                  <a:gd name="T48" fmla="*/ 0 w 1340"/>
                  <a:gd name="T49" fmla="*/ 1352 h 1688"/>
                  <a:gd name="T50" fmla="*/ 9 w 1340"/>
                  <a:gd name="T51" fmla="*/ 1424 h 1688"/>
                  <a:gd name="T52" fmla="*/ 51 w 1340"/>
                  <a:gd name="T53" fmla="*/ 1464 h 1688"/>
                  <a:gd name="T54" fmla="*/ 17 w 1340"/>
                  <a:gd name="T55" fmla="*/ 1512 h 1688"/>
                  <a:gd name="T56" fmla="*/ 59 w 1340"/>
                  <a:gd name="T57" fmla="*/ 1552 h 1688"/>
                  <a:gd name="T58" fmla="*/ 17 w 1340"/>
                  <a:gd name="T59" fmla="*/ 1584 h 1688"/>
                  <a:gd name="T60" fmla="*/ 51 w 1340"/>
                  <a:gd name="T61" fmla="*/ 1632 h 1688"/>
                  <a:gd name="T62" fmla="*/ 102 w 1340"/>
                  <a:gd name="T63" fmla="*/ 1688 h 1688"/>
                  <a:gd name="T64" fmla="*/ 278 w 1340"/>
                  <a:gd name="T65" fmla="*/ 1624 h 1688"/>
                  <a:gd name="T66" fmla="*/ 346 w 1340"/>
                  <a:gd name="T67" fmla="*/ 1576 h 1688"/>
                  <a:gd name="T68" fmla="*/ 388 w 1340"/>
                  <a:gd name="T69" fmla="*/ 1512 h 1688"/>
                  <a:gd name="T70" fmla="*/ 422 w 1340"/>
                  <a:gd name="T71" fmla="*/ 1592 h 1688"/>
                  <a:gd name="T72" fmla="*/ 489 w 1340"/>
                  <a:gd name="T73" fmla="*/ 1456 h 1688"/>
                  <a:gd name="T74" fmla="*/ 514 w 1340"/>
                  <a:gd name="T75" fmla="*/ 1288 h 1688"/>
                  <a:gd name="T76" fmla="*/ 455 w 1340"/>
                  <a:gd name="T77" fmla="*/ 1048 h 1688"/>
                  <a:gd name="T78" fmla="*/ 582 w 1340"/>
                  <a:gd name="T79" fmla="*/ 912 h 1688"/>
                  <a:gd name="T80" fmla="*/ 590 w 1340"/>
                  <a:gd name="T81" fmla="*/ 712 h 1688"/>
                  <a:gd name="T82" fmla="*/ 691 w 1340"/>
                  <a:gd name="T83" fmla="*/ 568 h 1688"/>
                  <a:gd name="T84" fmla="*/ 717 w 1340"/>
                  <a:gd name="T85" fmla="*/ 440 h 1688"/>
                  <a:gd name="T86" fmla="*/ 851 w 1340"/>
                  <a:gd name="T87" fmla="*/ 400 h 1688"/>
                  <a:gd name="T88" fmla="*/ 851 w 1340"/>
                  <a:gd name="T89" fmla="*/ 296 h 1688"/>
                  <a:gd name="T90" fmla="*/ 1037 w 1340"/>
                  <a:gd name="T91" fmla="*/ 304 h 1688"/>
                  <a:gd name="T92" fmla="*/ 1113 w 1340"/>
                  <a:gd name="T93" fmla="*/ 176 h 1688"/>
                  <a:gd name="T94" fmla="*/ 1264 w 1340"/>
                  <a:gd name="T95" fmla="*/ 168 h 1688"/>
                  <a:gd name="T96" fmla="*/ 1340 w 1340"/>
                  <a:gd name="T97" fmla="*/ 144 h 168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340" h="1688">
                    <a:moveTo>
                      <a:pt x="1239" y="104"/>
                    </a:moveTo>
                    <a:lnTo>
                      <a:pt x="1281" y="80"/>
                    </a:lnTo>
                    <a:lnTo>
                      <a:pt x="1323" y="40"/>
                    </a:lnTo>
                    <a:lnTo>
                      <a:pt x="1239" y="16"/>
                    </a:lnTo>
                    <a:lnTo>
                      <a:pt x="1214" y="8"/>
                    </a:lnTo>
                    <a:lnTo>
                      <a:pt x="1205" y="24"/>
                    </a:lnTo>
                    <a:lnTo>
                      <a:pt x="1180" y="56"/>
                    </a:lnTo>
                    <a:lnTo>
                      <a:pt x="1172" y="16"/>
                    </a:lnTo>
                    <a:lnTo>
                      <a:pt x="1172" y="0"/>
                    </a:lnTo>
                    <a:lnTo>
                      <a:pt x="1146" y="0"/>
                    </a:lnTo>
                    <a:lnTo>
                      <a:pt x="1130" y="0"/>
                    </a:lnTo>
                    <a:lnTo>
                      <a:pt x="1130" y="24"/>
                    </a:lnTo>
                    <a:lnTo>
                      <a:pt x="1130" y="64"/>
                    </a:lnTo>
                    <a:lnTo>
                      <a:pt x="1104" y="24"/>
                    </a:lnTo>
                    <a:lnTo>
                      <a:pt x="1071" y="120"/>
                    </a:lnTo>
                    <a:lnTo>
                      <a:pt x="1062" y="48"/>
                    </a:lnTo>
                    <a:lnTo>
                      <a:pt x="1037" y="24"/>
                    </a:lnTo>
                    <a:lnTo>
                      <a:pt x="1012" y="40"/>
                    </a:lnTo>
                    <a:lnTo>
                      <a:pt x="961" y="80"/>
                    </a:lnTo>
                    <a:lnTo>
                      <a:pt x="953" y="112"/>
                    </a:lnTo>
                    <a:lnTo>
                      <a:pt x="961" y="136"/>
                    </a:lnTo>
                    <a:lnTo>
                      <a:pt x="902" y="144"/>
                    </a:lnTo>
                    <a:lnTo>
                      <a:pt x="885" y="160"/>
                    </a:lnTo>
                    <a:lnTo>
                      <a:pt x="877" y="184"/>
                    </a:lnTo>
                    <a:lnTo>
                      <a:pt x="851" y="192"/>
                    </a:lnTo>
                    <a:lnTo>
                      <a:pt x="826" y="192"/>
                    </a:lnTo>
                    <a:lnTo>
                      <a:pt x="809" y="176"/>
                    </a:lnTo>
                    <a:lnTo>
                      <a:pt x="784" y="176"/>
                    </a:lnTo>
                    <a:lnTo>
                      <a:pt x="750" y="208"/>
                    </a:lnTo>
                    <a:lnTo>
                      <a:pt x="717" y="248"/>
                    </a:lnTo>
                    <a:lnTo>
                      <a:pt x="683" y="296"/>
                    </a:lnTo>
                    <a:lnTo>
                      <a:pt x="683" y="320"/>
                    </a:lnTo>
                    <a:lnTo>
                      <a:pt x="700" y="328"/>
                    </a:lnTo>
                    <a:lnTo>
                      <a:pt x="659" y="374"/>
                    </a:lnTo>
                    <a:lnTo>
                      <a:pt x="641" y="368"/>
                    </a:lnTo>
                    <a:lnTo>
                      <a:pt x="645" y="418"/>
                    </a:lnTo>
                    <a:lnTo>
                      <a:pt x="616" y="456"/>
                    </a:lnTo>
                    <a:lnTo>
                      <a:pt x="599" y="480"/>
                    </a:lnTo>
                    <a:lnTo>
                      <a:pt x="590" y="504"/>
                    </a:lnTo>
                    <a:lnTo>
                      <a:pt x="607" y="520"/>
                    </a:lnTo>
                    <a:lnTo>
                      <a:pt x="573" y="536"/>
                    </a:lnTo>
                    <a:lnTo>
                      <a:pt x="565" y="560"/>
                    </a:lnTo>
                    <a:lnTo>
                      <a:pt x="540" y="576"/>
                    </a:lnTo>
                    <a:lnTo>
                      <a:pt x="523" y="624"/>
                    </a:lnTo>
                    <a:lnTo>
                      <a:pt x="472" y="744"/>
                    </a:lnTo>
                    <a:lnTo>
                      <a:pt x="455" y="816"/>
                    </a:lnTo>
                    <a:lnTo>
                      <a:pt x="439" y="840"/>
                    </a:lnTo>
                    <a:lnTo>
                      <a:pt x="396" y="848"/>
                    </a:lnTo>
                    <a:lnTo>
                      <a:pt x="405" y="872"/>
                    </a:lnTo>
                    <a:lnTo>
                      <a:pt x="413" y="888"/>
                    </a:lnTo>
                    <a:lnTo>
                      <a:pt x="396" y="896"/>
                    </a:lnTo>
                    <a:lnTo>
                      <a:pt x="346" y="952"/>
                    </a:lnTo>
                    <a:lnTo>
                      <a:pt x="321" y="1008"/>
                    </a:lnTo>
                    <a:lnTo>
                      <a:pt x="304" y="1024"/>
                    </a:lnTo>
                    <a:lnTo>
                      <a:pt x="295" y="1032"/>
                    </a:lnTo>
                    <a:lnTo>
                      <a:pt x="262" y="1024"/>
                    </a:lnTo>
                    <a:lnTo>
                      <a:pt x="236" y="1032"/>
                    </a:lnTo>
                    <a:lnTo>
                      <a:pt x="228" y="1040"/>
                    </a:lnTo>
                    <a:lnTo>
                      <a:pt x="220" y="1064"/>
                    </a:lnTo>
                    <a:lnTo>
                      <a:pt x="186" y="1088"/>
                    </a:lnTo>
                    <a:lnTo>
                      <a:pt x="152" y="1104"/>
                    </a:lnTo>
                    <a:lnTo>
                      <a:pt x="127" y="1128"/>
                    </a:lnTo>
                    <a:lnTo>
                      <a:pt x="93" y="1144"/>
                    </a:lnTo>
                    <a:lnTo>
                      <a:pt x="68" y="1168"/>
                    </a:lnTo>
                    <a:lnTo>
                      <a:pt x="51" y="1192"/>
                    </a:lnTo>
                    <a:lnTo>
                      <a:pt x="26" y="1200"/>
                    </a:lnTo>
                    <a:lnTo>
                      <a:pt x="17" y="1208"/>
                    </a:lnTo>
                    <a:lnTo>
                      <a:pt x="17" y="1248"/>
                    </a:lnTo>
                    <a:lnTo>
                      <a:pt x="9" y="1264"/>
                    </a:lnTo>
                    <a:lnTo>
                      <a:pt x="17" y="1272"/>
                    </a:lnTo>
                    <a:lnTo>
                      <a:pt x="17" y="1288"/>
                    </a:lnTo>
                    <a:lnTo>
                      <a:pt x="9" y="1304"/>
                    </a:lnTo>
                    <a:lnTo>
                      <a:pt x="17" y="1312"/>
                    </a:lnTo>
                    <a:lnTo>
                      <a:pt x="17" y="1328"/>
                    </a:lnTo>
                    <a:lnTo>
                      <a:pt x="0" y="1352"/>
                    </a:lnTo>
                    <a:lnTo>
                      <a:pt x="17" y="1384"/>
                    </a:lnTo>
                    <a:lnTo>
                      <a:pt x="43" y="1408"/>
                    </a:lnTo>
                    <a:lnTo>
                      <a:pt x="9" y="1424"/>
                    </a:lnTo>
                    <a:lnTo>
                      <a:pt x="34" y="1432"/>
                    </a:lnTo>
                    <a:lnTo>
                      <a:pt x="9" y="1480"/>
                    </a:lnTo>
                    <a:lnTo>
                      <a:pt x="51" y="1464"/>
                    </a:lnTo>
                    <a:lnTo>
                      <a:pt x="51" y="1480"/>
                    </a:lnTo>
                    <a:lnTo>
                      <a:pt x="43" y="1488"/>
                    </a:lnTo>
                    <a:lnTo>
                      <a:pt x="17" y="1512"/>
                    </a:lnTo>
                    <a:lnTo>
                      <a:pt x="17" y="1544"/>
                    </a:lnTo>
                    <a:lnTo>
                      <a:pt x="43" y="1544"/>
                    </a:lnTo>
                    <a:lnTo>
                      <a:pt x="59" y="1552"/>
                    </a:lnTo>
                    <a:lnTo>
                      <a:pt x="59" y="1568"/>
                    </a:lnTo>
                    <a:lnTo>
                      <a:pt x="34" y="1584"/>
                    </a:lnTo>
                    <a:lnTo>
                      <a:pt x="17" y="1584"/>
                    </a:lnTo>
                    <a:lnTo>
                      <a:pt x="9" y="1592"/>
                    </a:lnTo>
                    <a:lnTo>
                      <a:pt x="26" y="1616"/>
                    </a:lnTo>
                    <a:lnTo>
                      <a:pt x="51" y="1632"/>
                    </a:lnTo>
                    <a:lnTo>
                      <a:pt x="76" y="1656"/>
                    </a:lnTo>
                    <a:lnTo>
                      <a:pt x="118" y="1664"/>
                    </a:lnTo>
                    <a:lnTo>
                      <a:pt x="102" y="1688"/>
                    </a:lnTo>
                    <a:lnTo>
                      <a:pt x="177" y="1688"/>
                    </a:lnTo>
                    <a:lnTo>
                      <a:pt x="236" y="1664"/>
                    </a:lnTo>
                    <a:lnTo>
                      <a:pt x="278" y="1624"/>
                    </a:lnTo>
                    <a:lnTo>
                      <a:pt x="312" y="1576"/>
                    </a:lnTo>
                    <a:lnTo>
                      <a:pt x="329" y="1584"/>
                    </a:lnTo>
                    <a:lnTo>
                      <a:pt x="346" y="1576"/>
                    </a:lnTo>
                    <a:lnTo>
                      <a:pt x="363" y="1544"/>
                    </a:lnTo>
                    <a:lnTo>
                      <a:pt x="363" y="1512"/>
                    </a:lnTo>
                    <a:lnTo>
                      <a:pt x="388" y="1512"/>
                    </a:lnTo>
                    <a:lnTo>
                      <a:pt x="396" y="1528"/>
                    </a:lnTo>
                    <a:lnTo>
                      <a:pt x="405" y="1560"/>
                    </a:lnTo>
                    <a:lnTo>
                      <a:pt x="422" y="1592"/>
                    </a:lnTo>
                    <a:lnTo>
                      <a:pt x="439" y="1584"/>
                    </a:lnTo>
                    <a:lnTo>
                      <a:pt x="455" y="1488"/>
                    </a:lnTo>
                    <a:lnTo>
                      <a:pt x="489" y="1456"/>
                    </a:lnTo>
                    <a:lnTo>
                      <a:pt x="489" y="1368"/>
                    </a:lnTo>
                    <a:lnTo>
                      <a:pt x="514" y="1328"/>
                    </a:lnTo>
                    <a:lnTo>
                      <a:pt x="514" y="1288"/>
                    </a:lnTo>
                    <a:lnTo>
                      <a:pt x="472" y="1248"/>
                    </a:lnTo>
                    <a:lnTo>
                      <a:pt x="472" y="1168"/>
                    </a:lnTo>
                    <a:lnTo>
                      <a:pt x="455" y="1048"/>
                    </a:lnTo>
                    <a:lnTo>
                      <a:pt x="489" y="976"/>
                    </a:lnTo>
                    <a:lnTo>
                      <a:pt x="565" y="968"/>
                    </a:lnTo>
                    <a:lnTo>
                      <a:pt x="582" y="912"/>
                    </a:lnTo>
                    <a:lnTo>
                      <a:pt x="540" y="888"/>
                    </a:lnTo>
                    <a:lnTo>
                      <a:pt x="590" y="808"/>
                    </a:lnTo>
                    <a:lnTo>
                      <a:pt x="590" y="712"/>
                    </a:lnTo>
                    <a:lnTo>
                      <a:pt x="632" y="688"/>
                    </a:lnTo>
                    <a:lnTo>
                      <a:pt x="632" y="624"/>
                    </a:lnTo>
                    <a:lnTo>
                      <a:pt x="691" y="568"/>
                    </a:lnTo>
                    <a:lnTo>
                      <a:pt x="683" y="528"/>
                    </a:lnTo>
                    <a:lnTo>
                      <a:pt x="683" y="480"/>
                    </a:lnTo>
                    <a:lnTo>
                      <a:pt x="717" y="440"/>
                    </a:lnTo>
                    <a:lnTo>
                      <a:pt x="759" y="440"/>
                    </a:lnTo>
                    <a:lnTo>
                      <a:pt x="776" y="384"/>
                    </a:lnTo>
                    <a:lnTo>
                      <a:pt x="851" y="400"/>
                    </a:lnTo>
                    <a:lnTo>
                      <a:pt x="851" y="320"/>
                    </a:lnTo>
                    <a:lnTo>
                      <a:pt x="868" y="312"/>
                    </a:lnTo>
                    <a:lnTo>
                      <a:pt x="851" y="296"/>
                    </a:lnTo>
                    <a:lnTo>
                      <a:pt x="894" y="272"/>
                    </a:lnTo>
                    <a:lnTo>
                      <a:pt x="995" y="320"/>
                    </a:lnTo>
                    <a:lnTo>
                      <a:pt x="1037" y="304"/>
                    </a:lnTo>
                    <a:lnTo>
                      <a:pt x="1096" y="320"/>
                    </a:lnTo>
                    <a:lnTo>
                      <a:pt x="1113" y="248"/>
                    </a:lnTo>
                    <a:lnTo>
                      <a:pt x="1113" y="176"/>
                    </a:lnTo>
                    <a:lnTo>
                      <a:pt x="1146" y="136"/>
                    </a:lnTo>
                    <a:lnTo>
                      <a:pt x="1197" y="136"/>
                    </a:lnTo>
                    <a:lnTo>
                      <a:pt x="1264" y="168"/>
                    </a:lnTo>
                    <a:lnTo>
                      <a:pt x="1281" y="208"/>
                    </a:lnTo>
                    <a:lnTo>
                      <a:pt x="1306" y="176"/>
                    </a:lnTo>
                    <a:lnTo>
                      <a:pt x="1340" y="144"/>
                    </a:lnTo>
                    <a:lnTo>
                      <a:pt x="1340" y="120"/>
                    </a:lnTo>
                    <a:lnTo>
                      <a:pt x="1239" y="10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Freeform 105">
                <a:extLst>
                  <a:ext uri="{FF2B5EF4-FFF2-40B4-BE49-F238E27FC236}">
                    <a16:creationId xmlns:a16="http://schemas.microsoft.com/office/drawing/2014/main" id="{BBD1D8E6-5CD6-ED17-E4E1-702898B7AC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5096" y="723894"/>
                <a:ext cx="1870727" cy="2356556"/>
              </a:xfrm>
              <a:custGeom>
                <a:avLst/>
                <a:gdLst>
                  <a:gd name="T0" fmla="*/ 1323 w 1340"/>
                  <a:gd name="T1" fmla="*/ 40 h 1688"/>
                  <a:gd name="T2" fmla="*/ 1205 w 1340"/>
                  <a:gd name="T3" fmla="*/ 24 h 1688"/>
                  <a:gd name="T4" fmla="*/ 1172 w 1340"/>
                  <a:gd name="T5" fmla="*/ 0 h 1688"/>
                  <a:gd name="T6" fmla="*/ 1130 w 1340"/>
                  <a:gd name="T7" fmla="*/ 24 h 1688"/>
                  <a:gd name="T8" fmla="*/ 1071 w 1340"/>
                  <a:gd name="T9" fmla="*/ 120 h 1688"/>
                  <a:gd name="T10" fmla="*/ 1012 w 1340"/>
                  <a:gd name="T11" fmla="*/ 40 h 1688"/>
                  <a:gd name="T12" fmla="*/ 961 w 1340"/>
                  <a:gd name="T13" fmla="*/ 136 h 1688"/>
                  <a:gd name="T14" fmla="*/ 877 w 1340"/>
                  <a:gd name="T15" fmla="*/ 184 h 1688"/>
                  <a:gd name="T16" fmla="*/ 809 w 1340"/>
                  <a:gd name="T17" fmla="*/ 176 h 1688"/>
                  <a:gd name="T18" fmla="*/ 717 w 1340"/>
                  <a:gd name="T19" fmla="*/ 248 h 1688"/>
                  <a:gd name="T20" fmla="*/ 700 w 1340"/>
                  <a:gd name="T21" fmla="*/ 328 h 1688"/>
                  <a:gd name="T22" fmla="*/ 645 w 1340"/>
                  <a:gd name="T23" fmla="*/ 422 h 1688"/>
                  <a:gd name="T24" fmla="*/ 590 w 1340"/>
                  <a:gd name="T25" fmla="*/ 504 h 1688"/>
                  <a:gd name="T26" fmla="*/ 565 w 1340"/>
                  <a:gd name="T27" fmla="*/ 560 h 1688"/>
                  <a:gd name="T28" fmla="*/ 472 w 1340"/>
                  <a:gd name="T29" fmla="*/ 744 h 1688"/>
                  <a:gd name="T30" fmla="*/ 396 w 1340"/>
                  <a:gd name="T31" fmla="*/ 848 h 1688"/>
                  <a:gd name="T32" fmla="*/ 396 w 1340"/>
                  <a:gd name="T33" fmla="*/ 896 h 1688"/>
                  <a:gd name="T34" fmla="*/ 304 w 1340"/>
                  <a:gd name="T35" fmla="*/ 1024 h 1688"/>
                  <a:gd name="T36" fmla="*/ 236 w 1340"/>
                  <a:gd name="T37" fmla="*/ 1032 h 1688"/>
                  <a:gd name="T38" fmla="*/ 186 w 1340"/>
                  <a:gd name="T39" fmla="*/ 1088 h 1688"/>
                  <a:gd name="T40" fmla="*/ 93 w 1340"/>
                  <a:gd name="T41" fmla="*/ 1144 h 1688"/>
                  <a:gd name="T42" fmla="*/ 26 w 1340"/>
                  <a:gd name="T43" fmla="*/ 1200 h 1688"/>
                  <a:gd name="T44" fmla="*/ 9 w 1340"/>
                  <a:gd name="T45" fmla="*/ 1264 h 1688"/>
                  <a:gd name="T46" fmla="*/ 9 w 1340"/>
                  <a:gd name="T47" fmla="*/ 1304 h 1688"/>
                  <a:gd name="T48" fmla="*/ 0 w 1340"/>
                  <a:gd name="T49" fmla="*/ 1352 h 1688"/>
                  <a:gd name="T50" fmla="*/ 9 w 1340"/>
                  <a:gd name="T51" fmla="*/ 1424 h 1688"/>
                  <a:gd name="T52" fmla="*/ 51 w 1340"/>
                  <a:gd name="T53" fmla="*/ 1464 h 1688"/>
                  <a:gd name="T54" fmla="*/ 17 w 1340"/>
                  <a:gd name="T55" fmla="*/ 1512 h 1688"/>
                  <a:gd name="T56" fmla="*/ 59 w 1340"/>
                  <a:gd name="T57" fmla="*/ 1552 h 1688"/>
                  <a:gd name="T58" fmla="*/ 17 w 1340"/>
                  <a:gd name="T59" fmla="*/ 1584 h 1688"/>
                  <a:gd name="T60" fmla="*/ 51 w 1340"/>
                  <a:gd name="T61" fmla="*/ 1632 h 1688"/>
                  <a:gd name="T62" fmla="*/ 102 w 1340"/>
                  <a:gd name="T63" fmla="*/ 1688 h 1688"/>
                  <a:gd name="T64" fmla="*/ 278 w 1340"/>
                  <a:gd name="T65" fmla="*/ 1624 h 1688"/>
                  <a:gd name="T66" fmla="*/ 346 w 1340"/>
                  <a:gd name="T67" fmla="*/ 1576 h 1688"/>
                  <a:gd name="T68" fmla="*/ 388 w 1340"/>
                  <a:gd name="T69" fmla="*/ 1512 h 1688"/>
                  <a:gd name="T70" fmla="*/ 422 w 1340"/>
                  <a:gd name="T71" fmla="*/ 1592 h 1688"/>
                  <a:gd name="T72" fmla="*/ 489 w 1340"/>
                  <a:gd name="T73" fmla="*/ 1456 h 1688"/>
                  <a:gd name="T74" fmla="*/ 514 w 1340"/>
                  <a:gd name="T75" fmla="*/ 1288 h 1688"/>
                  <a:gd name="T76" fmla="*/ 455 w 1340"/>
                  <a:gd name="T77" fmla="*/ 1048 h 1688"/>
                  <a:gd name="T78" fmla="*/ 582 w 1340"/>
                  <a:gd name="T79" fmla="*/ 912 h 1688"/>
                  <a:gd name="T80" fmla="*/ 590 w 1340"/>
                  <a:gd name="T81" fmla="*/ 712 h 1688"/>
                  <a:gd name="T82" fmla="*/ 691 w 1340"/>
                  <a:gd name="T83" fmla="*/ 568 h 1688"/>
                  <a:gd name="T84" fmla="*/ 717 w 1340"/>
                  <a:gd name="T85" fmla="*/ 440 h 1688"/>
                  <a:gd name="T86" fmla="*/ 851 w 1340"/>
                  <a:gd name="T87" fmla="*/ 400 h 1688"/>
                  <a:gd name="T88" fmla="*/ 851 w 1340"/>
                  <a:gd name="T89" fmla="*/ 296 h 1688"/>
                  <a:gd name="T90" fmla="*/ 1037 w 1340"/>
                  <a:gd name="T91" fmla="*/ 304 h 1688"/>
                  <a:gd name="T92" fmla="*/ 1113 w 1340"/>
                  <a:gd name="T93" fmla="*/ 176 h 1688"/>
                  <a:gd name="T94" fmla="*/ 1264 w 1340"/>
                  <a:gd name="T95" fmla="*/ 168 h 1688"/>
                  <a:gd name="T96" fmla="*/ 1340 w 1340"/>
                  <a:gd name="T97" fmla="*/ 144 h 1688"/>
                  <a:gd name="T98" fmla="*/ 1239 w 1340"/>
                  <a:gd name="T99" fmla="*/ 104 h 16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340" h="1688">
                    <a:moveTo>
                      <a:pt x="1239" y="104"/>
                    </a:moveTo>
                    <a:lnTo>
                      <a:pt x="1281" y="80"/>
                    </a:lnTo>
                    <a:lnTo>
                      <a:pt x="1323" y="40"/>
                    </a:lnTo>
                    <a:lnTo>
                      <a:pt x="1239" y="16"/>
                    </a:lnTo>
                    <a:lnTo>
                      <a:pt x="1214" y="8"/>
                    </a:lnTo>
                    <a:lnTo>
                      <a:pt x="1205" y="24"/>
                    </a:lnTo>
                    <a:lnTo>
                      <a:pt x="1180" y="56"/>
                    </a:lnTo>
                    <a:lnTo>
                      <a:pt x="1172" y="16"/>
                    </a:lnTo>
                    <a:lnTo>
                      <a:pt x="1172" y="0"/>
                    </a:lnTo>
                    <a:lnTo>
                      <a:pt x="1146" y="0"/>
                    </a:lnTo>
                    <a:lnTo>
                      <a:pt x="1130" y="0"/>
                    </a:lnTo>
                    <a:lnTo>
                      <a:pt x="1130" y="24"/>
                    </a:lnTo>
                    <a:lnTo>
                      <a:pt x="1130" y="64"/>
                    </a:lnTo>
                    <a:lnTo>
                      <a:pt x="1104" y="24"/>
                    </a:lnTo>
                    <a:lnTo>
                      <a:pt x="1071" y="120"/>
                    </a:lnTo>
                    <a:lnTo>
                      <a:pt x="1062" y="48"/>
                    </a:lnTo>
                    <a:lnTo>
                      <a:pt x="1037" y="24"/>
                    </a:lnTo>
                    <a:lnTo>
                      <a:pt x="1012" y="40"/>
                    </a:lnTo>
                    <a:lnTo>
                      <a:pt x="961" y="80"/>
                    </a:lnTo>
                    <a:lnTo>
                      <a:pt x="953" y="112"/>
                    </a:lnTo>
                    <a:lnTo>
                      <a:pt x="961" y="136"/>
                    </a:lnTo>
                    <a:lnTo>
                      <a:pt x="902" y="144"/>
                    </a:lnTo>
                    <a:lnTo>
                      <a:pt x="885" y="160"/>
                    </a:lnTo>
                    <a:lnTo>
                      <a:pt x="877" y="184"/>
                    </a:lnTo>
                    <a:lnTo>
                      <a:pt x="851" y="192"/>
                    </a:lnTo>
                    <a:lnTo>
                      <a:pt x="826" y="192"/>
                    </a:lnTo>
                    <a:lnTo>
                      <a:pt x="809" y="176"/>
                    </a:lnTo>
                    <a:lnTo>
                      <a:pt x="784" y="176"/>
                    </a:lnTo>
                    <a:lnTo>
                      <a:pt x="750" y="208"/>
                    </a:lnTo>
                    <a:lnTo>
                      <a:pt x="717" y="248"/>
                    </a:lnTo>
                    <a:lnTo>
                      <a:pt x="683" y="296"/>
                    </a:lnTo>
                    <a:lnTo>
                      <a:pt x="683" y="320"/>
                    </a:lnTo>
                    <a:lnTo>
                      <a:pt x="700" y="328"/>
                    </a:lnTo>
                    <a:lnTo>
                      <a:pt x="658" y="376"/>
                    </a:lnTo>
                    <a:lnTo>
                      <a:pt x="639" y="374"/>
                    </a:lnTo>
                    <a:lnTo>
                      <a:pt x="645" y="422"/>
                    </a:lnTo>
                    <a:lnTo>
                      <a:pt x="616" y="456"/>
                    </a:lnTo>
                    <a:lnTo>
                      <a:pt x="599" y="480"/>
                    </a:lnTo>
                    <a:lnTo>
                      <a:pt x="590" y="504"/>
                    </a:lnTo>
                    <a:lnTo>
                      <a:pt x="607" y="520"/>
                    </a:lnTo>
                    <a:lnTo>
                      <a:pt x="573" y="536"/>
                    </a:lnTo>
                    <a:lnTo>
                      <a:pt x="565" y="560"/>
                    </a:lnTo>
                    <a:lnTo>
                      <a:pt x="540" y="576"/>
                    </a:lnTo>
                    <a:lnTo>
                      <a:pt x="523" y="624"/>
                    </a:lnTo>
                    <a:lnTo>
                      <a:pt x="472" y="744"/>
                    </a:lnTo>
                    <a:lnTo>
                      <a:pt x="455" y="816"/>
                    </a:lnTo>
                    <a:lnTo>
                      <a:pt x="439" y="840"/>
                    </a:lnTo>
                    <a:lnTo>
                      <a:pt x="396" y="848"/>
                    </a:lnTo>
                    <a:lnTo>
                      <a:pt x="405" y="872"/>
                    </a:lnTo>
                    <a:lnTo>
                      <a:pt x="413" y="888"/>
                    </a:lnTo>
                    <a:lnTo>
                      <a:pt x="396" y="896"/>
                    </a:lnTo>
                    <a:lnTo>
                      <a:pt x="346" y="952"/>
                    </a:lnTo>
                    <a:lnTo>
                      <a:pt x="321" y="1008"/>
                    </a:lnTo>
                    <a:lnTo>
                      <a:pt x="304" y="1024"/>
                    </a:lnTo>
                    <a:lnTo>
                      <a:pt x="295" y="1032"/>
                    </a:lnTo>
                    <a:lnTo>
                      <a:pt x="262" y="1024"/>
                    </a:lnTo>
                    <a:lnTo>
                      <a:pt x="236" y="1032"/>
                    </a:lnTo>
                    <a:lnTo>
                      <a:pt x="228" y="1040"/>
                    </a:lnTo>
                    <a:lnTo>
                      <a:pt x="220" y="1064"/>
                    </a:lnTo>
                    <a:lnTo>
                      <a:pt x="186" y="1088"/>
                    </a:lnTo>
                    <a:lnTo>
                      <a:pt x="152" y="1104"/>
                    </a:lnTo>
                    <a:lnTo>
                      <a:pt x="127" y="1128"/>
                    </a:lnTo>
                    <a:lnTo>
                      <a:pt x="93" y="1144"/>
                    </a:lnTo>
                    <a:lnTo>
                      <a:pt x="68" y="1168"/>
                    </a:lnTo>
                    <a:lnTo>
                      <a:pt x="51" y="1192"/>
                    </a:lnTo>
                    <a:lnTo>
                      <a:pt x="26" y="1200"/>
                    </a:lnTo>
                    <a:lnTo>
                      <a:pt x="17" y="1208"/>
                    </a:lnTo>
                    <a:lnTo>
                      <a:pt x="17" y="1248"/>
                    </a:lnTo>
                    <a:lnTo>
                      <a:pt x="9" y="1264"/>
                    </a:lnTo>
                    <a:lnTo>
                      <a:pt x="17" y="1272"/>
                    </a:lnTo>
                    <a:lnTo>
                      <a:pt x="17" y="1288"/>
                    </a:lnTo>
                    <a:lnTo>
                      <a:pt x="9" y="1304"/>
                    </a:lnTo>
                    <a:lnTo>
                      <a:pt x="17" y="1312"/>
                    </a:lnTo>
                    <a:lnTo>
                      <a:pt x="17" y="1328"/>
                    </a:lnTo>
                    <a:lnTo>
                      <a:pt x="0" y="1352"/>
                    </a:lnTo>
                    <a:lnTo>
                      <a:pt x="17" y="1384"/>
                    </a:lnTo>
                    <a:lnTo>
                      <a:pt x="43" y="1408"/>
                    </a:lnTo>
                    <a:lnTo>
                      <a:pt x="9" y="1424"/>
                    </a:lnTo>
                    <a:lnTo>
                      <a:pt x="34" y="1432"/>
                    </a:lnTo>
                    <a:lnTo>
                      <a:pt x="9" y="1480"/>
                    </a:lnTo>
                    <a:lnTo>
                      <a:pt x="51" y="1464"/>
                    </a:lnTo>
                    <a:lnTo>
                      <a:pt x="51" y="1480"/>
                    </a:lnTo>
                    <a:lnTo>
                      <a:pt x="43" y="1488"/>
                    </a:lnTo>
                    <a:lnTo>
                      <a:pt x="17" y="1512"/>
                    </a:lnTo>
                    <a:lnTo>
                      <a:pt x="17" y="1544"/>
                    </a:lnTo>
                    <a:lnTo>
                      <a:pt x="43" y="1544"/>
                    </a:lnTo>
                    <a:lnTo>
                      <a:pt x="59" y="1552"/>
                    </a:lnTo>
                    <a:lnTo>
                      <a:pt x="59" y="1568"/>
                    </a:lnTo>
                    <a:lnTo>
                      <a:pt x="34" y="1584"/>
                    </a:lnTo>
                    <a:lnTo>
                      <a:pt x="17" y="1584"/>
                    </a:lnTo>
                    <a:lnTo>
                      <a:pt x="9" y="1592"/>
                    </a:lnTo>
                    <a:lnTo>
                      <a:pt x="26" y="1616"/>
                    </a:lnTo>
                    <a:lnTo>
                      <a:pt x="51" y="1632"/>
                    </a:lnTo>
                    <a:lnTo>
                      <a:pt x="76" y="1656"/>
                    </a:lnTo>
                    <a:lnTo>
                      <a:pt x="118" y="1664"/>
                    </a:lnTo>
                    <a:lnTo>
                      <a:pt x="102" y="1688"/>
                    </a:lnTo>
                    <a:lnTo>
                      <a:pt x="177" y="1688"/>
                    </a:lnTo>
                    <a:lnTo>
                      <a:pt x="236" y="1664"/>
                    </a:lnTo>
                    <a:lnTo>
                      <a:pt x="278" y="1624"/>
                    </a:lnTo>
                    <a:lnTo>
                      <a:pt x="312" y="1576"/>
                    </a:lnTo>
                    <a:lnTo>
                      <a:pt x="329" y="1584"/>
                    </a:lnTo>
                    <a:lnTo>
                      <a:pt x="346" y="1576"/>
                    </a:lnTo>
                    <a:lnTo>
                      <a:pt x="363" y="1544"/>
                    </a:lnTo>
                    <a:lnTo>
                      <a:pt x="363" y="1512"/>
                    </a:lnTo>
                    <a:lnTo>
                      <a:pt x="388" y="1512"/>
                    </a:lnTo>
                    <a:lnTo>
                      <a:pt x="396" y="1528"/>
                    </a:lnTo>
                    <a:lnTo>
                      <a:pt x="405" y="1560"/>
                    </a:lnTo>
                    <a:lnTo>
                      <a:pt x="422" y="1592"/>
                    </a:lnTo>
                    <a:lnTo>
                      <a:pt x="439" y="1584"/>
                    </a:lnTo>
                    <a:lnTo>
                      <a:pt x="455" y="1488"/>
                    </a:lnTo>
                    <a:lnTo>
                      <a:pt x="489" y="1456"/>
                    </a:lnTo>
                    <a:lnTo>
                      <a:pt x="489" y="1368"/>
                    </a:lnTo>
                    <a:lnTo>
                      <a:pt x="514" y="1328"/>
                    </a:lnTo>
                    <a:lnTo>
                      <a:pt x="514" y="1288"/>
                    </a:lnTo>
                    <a:lnTo>
                      <a:pt x="472" y="1248"/>
                    </a:lnTo>
                    <a:lnTo>
                      <a:pt x="472" y="1168"/>
                    </a:lnTo>
                    <a:lnTo>
                      <a:pt x="455" y="1048"/>
                    </a:lnTo>
                    <a:lnTo>
                      <a:pt x="489" y="976"/>
                    </a:lnTo>
                    <a:lnTo>
                      <a:pt x="565" y="968"/>
                    </a:lnTo>
                    <a:lnTo>
                      <a:pt x="582" y="912"/>
                    </a:lnTo>
                    <a:lnTo>
                      <a:pt x="540" y="888"/>
                    </a:lnTo>
                    <a:lnTo>
                      <a:pt x="590" y="808"/>
                    </a:lnTo>
                    <a:lnTo>
                      <a:pt x="590" y="712"/>
                    </a:lnTo>
                    <a:lnTo>
                      <a:pt x="632" y="688"/>
                    </a:lnTo>
                    <a:lnTo>
                      <a:pt x="632" y="624"/>
                    </a:lnTo>
                    <a:lnTo>
                      <a:pt x="691" y="568"/>
                    </a:lnTo>
                    <a:lnTo>
                      <a:pt x="683" y="528"/>
                    </a:lnTo>
                    <a:lnTo>
                      <a:pt x="683" y="480"/>
                    </a:lnTo>
                    <a:lnTo>
                      <a:pt x="717" y="440"/>
                    </a:lnTo>
                    <a:lnTo>
                      <a:pt x="759" y="440"/>
                    </a:lnTo>
                    <a:lnTo>
                      <a:pt x="776" y="384"/>
                    </a:lnTo>
                    <a:lnTo>
                      <a:pt x="851" y="400"/>
                    </a:lnTo>
                    <a:lnTo>
                      <a:pt x="851" y="320"/>
                    </a:lnTo>
                    <a:lnTo>
                      <a:pt x="868" y="312"/>
                    </a:lnTo>
                    <a:lnTo>
                      <a:pt x="851" y="296"/>
                    </a:lnTo>
                    <a:lnTo>
                      <a:pt x="894" y="272"/>
                    </a:lnTo>
                    <a:lnTo>
                      <a:pt x="995" y="320"/>
                    </a:lnTo>
                    <a:lnTo>
                      <a:pt x="1037" y="304"/>
                    </a:lnTo>
                    <a:lnTo>
                      <a:pt x="1096" y="320"/>
                    </a:lnTo>
                    <a:lnTo>
                      <a:pt x="1113" y="248"/>
                    </a:lnTo>
                    <a:lnTo>
                      <a:pt x="1113" y="176"/>
                    </a:lnTo>
                    <a:lnTo>
                      <a:pt x="1146" y="136"/>
                    </a:lnTo>
                    <a:lnTo>
                      <a:pt x="1197" y="136"/>
                    </a:lnTo>
                    <a:lnTo>
                      <a:pt x="1264" y="168"/>
                    </a:lnTo>
                    <a:lnTo>
                      <a:pt x="1281" y="208"/>
                    </a:lnTo>
                    <a:lnTo>
                      <a:pt x="1306" y="176"/>
                    </a:lnTo>
                    <a:lnTo>
                      <a:pt x="1340" y="144"/>
                    </a:lnTo>
                    <a:lnTo>
                      <a:pt x="1340" y="120"/>
                    </a:lnTo>
                    <a:lnTo>
                      <a:pt x="1239" y="104"/>
                    </a:lnTo>
                    <a:close/>
                  </a:path>
                </a:pathLst>
              </a:cu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Freeform 9">
                <a:extLst>
                  <a:ext uri="{FF2B5EF4-FFF2-40B4-BE49-F238E27FC236}">
                    <a16:creationId xmlns:a16="http://schemas.microsoft.com/office/drawing/2014/main" id="{E2C6D186-211A-EAF2-652C-F6854AD478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80012" y="6380137"/>
                <a:ext cx="157616" cy="35592"/>
              </a:xfrm>
              <a:custGeom>
                <a:avLst/>
                <a:gdLst>
                  <a:gd name="T0" fmla="*/ 24 w 30"/>
                  <a:gd name="T1" fmla="*/ 0 h 6"/>
                  <a:gd name="T2" fmla="*/ 30 w 30"/>
                  <a:gd name="T3" fmla="*/ 0 h 6"/>
                  <a:gd name="T4" fmla="*/ 0 w 30"/>
                  <a:gd name="T5" fmla="*/ 6 h 6"/>
                  <a:gd name="T6" fmla="*/ 24 w 30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6">
                    <a:moveTo>
                      <a:pt x="24" y="0"/>
                    </a:moveTo>
                    <a:lnTo>
                      <a:pt x="30" y="0"/>
                    </a:lnTo>
                    <a:lnTo>
                      <a:pt x="0" y="6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>
                <a:defPPr>
                  <a:defRPr lang="en-GB"/>
                </a:defPPr>
                <a:lvl1pPr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GB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-128"/>
                  <a:cs typeface="+mn-cs"/>
                </a:endParaRPr>
              </a:p>
            </p:txBody>
          </p:sp>
          <p:sp>
            <p:nvSpPr>
              <p:cNvPr id="109" name="Rectangle 10">
                <a:extLst>
                  <a:ext uri="{FF2B5EF4-FFF2-40B4-BE49-F238E27FC236}">
                    <a16:creationId xmlns:a16="http://schemas.microsoft.com/office/drawing/2014/main" id="{66F24538-7ACC-DB05-ECA9-534152FAAC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20735" y="7371583"/>
                <a:ext cx="5086" cy="10169"/>
              </a:xfrm>
              <a:prstGeom prst="rect">
                <a:avLst/>
              </a:prstGeom>
              <a:grpFill/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>
                <a:defPPr>
                  <a:defRPr lang="en-GB"/>
                </a:defPPr>
                <a:lvl1pPr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GB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-128"/>
                  <a:cs typeface="+mn-cs"/>
                </a:endParaRPr>
              </a:p>
            </p:txBody>
          </p:sp>
          <p:sp>
            <p:nvSpPr>
              <p:cNvPr id="110" name="Forma libre 227">
                <a:extLst>
                  <a:ext uri="{FF2B5EF4-FFF2-40B4-BE49-F238E27FC236}">
                    <a16:creationId xmlns:a16="http://schemas.microsoft.com/office/drawing/2014/main" id="{45AA25FE-03E6-D77C-F219-48772F6B46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77458" y="5727231"/>
                <a:ext cx="214542" cy="1253637"/>
              </a:xfrm>
              <a:custGeom>
                <a:avLst/>
                <a:gdLst>
                  <a:gd name="connsiteX0" fmla="*/ 173974 w 173974"/>
                  <a:gd name="connsiteY0" fmla="*/ 727078 h 1016586"/>
                  <a:gd name="connsiteX1" fmla="*/ 173974 w 173974"/>
                  <a:gd name="connsiteY1" fmla="*/ 1016586 h 1016586"/>
                  <a:gd name="connsiteX2" fmla="*/ 150731 w 173974"/>
                  <a:gd name="connsiteY2" fmla="*/ 995270 h 1016586"/>
                  <a:gd name="connsiteX3" fmla="*/ 150731 w 173974"/>
                  <a:gd name="connsiteY3" fmla="*/ 829392 h 1016586"/>
                  <a:gd name="connsiteX4" fmla="*/ 166629 w 173974"/>
                  <a:gd name="connsiteY4" fmla="*/ 759412 h 1016586"/>
                  <a:gd name="connsiteX5" fmla="*/ 0 w 173974"/>
                  <a:gd name="connsiteY5" fmla="*/ 0 h 1016586"/>
                  <a:gd name="connsiteX6" fmla="*/ 113049 w 173974"/>
                  <a:gd name="connsiteY6" fmla="*/ 82939 h 1016586"/>
                  <a:gd name="connsiteX7" fmla="*/ 160741 w 173974"/>
                  <a:gd name="connsiteY7" fmla="*/ 100434 h 1016586"/>
                  <a:gd name="connsiteX8" fmla="*/ 173974 w 173974"/>
                  <a:gd name="connsiteY8" fmla="*/ 105289 h 1016586"/>
                  <a:gd name="connsiteX9" fmla="*/ 173974 w 173974"/>
                  <a:gd name="connsiteY9" fmla="*/ 639677 h 1016586"/>
                  <a:gd name="connsiteX10" fmla="*/ 169573 w 173974"/>
                  <a:gd name="connsiteY10" fmla="*/ 632412 h 1016586"/>
                  <a:gd name="connsiteX11" fmla="*/ 37683 w 173974"/>
                  <a:gd name="connsiteY11" fmla="*/ 414696 h 1016586"/>
                  <a:gd name="connsiteX12" fmla="*/ 0 w 173974"/>
                  <a:gd name="connsiteY12" fmla="*/ 290287 h 1016586"/>
                  <a:gd name="connsiteX13" fmla="*/ 0 w 173974"/>
                  <a:gd name="connsiteY13" fmla="*/ 0 h 1016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3974" h="1016586">
                    <a:moveTo>
                      <a:pt x="173974" y="727078"/>
                    </a:moveTo>
                    <a:lnTo>
                      <a:pt x="173974" y="1016586"/>
                    </a:lnTo>
                    <a:lnTo>
                      <a:pt x="150731" y="995270"/>
                    </a:lnTo>
                    <a:cubicBezTo>
                      <a:pt x="150731" y="995270"/>
                      <a:pt x="150731" y="995270"/>
                      <a:pt x="150731" y="829392"/>
                    </a:cubicBezTo>
                    <a:cubicBezTo>
                      <a:pt x="150731" y="829392"/>
                      <a:pt x="150731" y="829392"/>
                      <a:pt x="166629" y="759412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113049" y="82939"/>
                    </a:cubicBezTo>
                    <a:cubicBezTo>
                      <a:pt x="113049" y="82939"/>
                      <a:pt x="113049" y="82939"/>
                      <a:pt x="160741" y="100434"/>
                    </a:cubicBezTo>
                    <a:lnTo>
                      <a:pt x="173974" y="105289"/>
                    </a:lnTo>
                    <a:lnTo>
                      <a:pt x="173974" y="639677"/>
                    </a:lnTo>
                    <a:lnTo>
                      <a:pt x="169573" y="632412"/>
                    </a:lnTo>
                    <a:cubicBezTo>
                      <a:pt x="150732" y="601309"/>
                      <a:pt x="113049" y="539105"/>
                      <a:pt x="37683" y="414696"/>
                    </a:cubicBezTo>
                    <a:cubicBezTo>
                      <a:pt x="37683" y="414696"/>
                      <a:pt x="0" y="290287"/>
                      <a:pt x="0" y="290287"/>
                    </a:cubicBezTo>
                    <a:cubicBezTo>
                      <a:pt x="0" y="248818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0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miter lim="800000"/>
              </a:ln>
              <a:effectLst/>
            </p:spPr>
            <p:txBody>
              <a:bodyPr wrap="square">
                <a:noAutofit/>
              </a:bodyPr>
              <a:lstStyle>
                <a:defPPr>
                  <a:defRPr lang="en-GB"/>
                </a:defPPr>
                <a:lvl1pPr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GB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-128"/>
                  <a:cs typeface="+mn-cs"/>
                </a:endParaRPr>
              </a:p>
            </p:txBody>
          </p:sp>
          <p:sp>
            <p:nvSpPr>
              <p:cNvPr id="111" name="Freeform 27">
                <a:extLst>
                  <a:ext uri="{FF2B5EF4-FFF2-40B4-BE49-F238E27FC236}">
                    <a16:creationId xmlns:a16="http://schemas.microsoft.com/office/drawing/2014/main" id="{63D176D0-65A5-3B3D-8831-1B8DA23AFB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54663" y="4112528"/>
                <a:ext cx="66097" cy="35592"/>
              </a:xfrm>
              <a:custGeom>
                <a:avLst/>
                <a:gdLst>
                  <a:gd name="T0" fmla="*/ 12 w 12"/>
                  <a:gd name="T1" fmla="*/ 6 h 6"/>
                  <a:gd name="T2" fmla="*/ 0 w 12"/>
                  <a:gd name="T3" fmla="*/ 0 h 6"/>
                  <a:gd name="T4" fmla="*/ 0 w 12"/>
                  <a:gd name="T5" fmla="*/ 6 h 6"/>
                  <a:gd name="T6" fmla="*/ 12 w 12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6">
                    <a:moveTo>
                      <a:pt x="12" y="6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>
                <a:defPPr>
                  <a:defRPr lang="en-GB"/>
                </a:defPPr>
                <a:lvl1pPr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GB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-128"/>
                  <a:cs typeface="+mn-cs"/>
                </a:endParaRPr>
              </a:p>
            </p:txBody>
          </p:sp>
          <p:sp>
            <p:nvSpPr>
              <p:cNvPr id="112" name="Freeform 32">
                <a:extLst>
                  <a:ext uri="{FF2B5EF4-FFF2-40B4-BE49-F238E27FC236}">
                    <a16:creationId xmlns:a16="http://schemas.microsoft.com/office/drawing/2014/main" id="{2B9746EF-8177-3428-B196-2B26325BCD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20760" y="4112528"/>
                <a:ext cx="223711" cy="132192"/>
              </a:xfrm>
              <a:custGeom>
                <a:avLst/>
                <a:gdLst>
                  <a:gd name="T0" fmla="*/ 36 w 42"/>
                  <a:gd name="T1" fmla="*/ 24 h 24"/>
                  <a:gd name="T2" fmla="*/ 18 w 42"/>
                  <a:gd name="T3" fmla="*/ 0 h 24"/>
                  <a:gd name="T4" fmla="*/ 0 w 42"/>
                  <a:gd name="T5" fmla="*/ 6 h 24"/>
                  <a:gd name="T6" fmla="*/ 42 w 42"/>
                  <a:gd name="T7" fmla="*/ 24 h 24"/>
                  <a:gd name="T8" fmla="*/ 36 w 42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4">
                    <a:moveTo>
                      <a:pt x="36" y="24"/>
                    </a:moveTo>
                    <a:lnTo>
                      <a:pt x="18" y="0"/>
                    </a:lnTo>
                    <a:lnTo>
                      <a:pt x="0" y="6"/>
                    </a:lnTo>
                    <a:lnTo>
                      <a:pt x="42" y="24"/>
                    </a:lnTo>
                    <a:lnTo>
                      <a:pt x="36" y="24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>
                <a:defPPr>
                  <a:defRPr lang="en-GB"/>
                </a:defPPr>
                <a:lvl1pPr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49263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GB" sz="81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-128"/>
                  <a:cs typeface="+mn-cs"/>
                </a:endParaRPr>
              </a:p>
            </p:txBody>
          </p:sp>
          <p:grpSp>
            <p:nvGrpSpPr>
              <p:cNvPr id="113" name="Grupo 118">
                <a:extLst>
                  <a:ext uri="{FF2B5EF4-FFF2-40B4-BE49-F238E27FC236}">
                    <a16:creationId xmlns:a16="http://schemas.microsoft.com/office/drawing/2014/main" id="{2974EE77-BCD4-C7D0-48F9-79505FA65F13}"/>
                  </a:ext>
                </a:extLst>
              </p:cNvPr>
              <p:cNvGrpSpPr/>
              <p:nvPr/>
            </p:nvGrpSpPr>
            <p:grpSpPr>
              <a:xfrm>
                <a:off x="9109722" y="737855"/>
                <a:ext cx="3071954" cy="5204371"/>
                <a:chOff x="4493639" y="697391"/>
                <a:chExt cx="2491077" cy="4220274"/>
              </a:xfrm>
              <a:grpFill/>
            </p:grpSpPr>
            <p:sp>
              <p:nvSpPr>
                <p:cNvPr id="121" name="Rectángulo 119">
                  <a:extLst>
                    <a:ext uri="{FF2B5EF4-FFF2-40B4-BE49-F238E27FC236}">
                      <a16:creationId xmlns:a16="http://schemas.microsoft.com/office/drawing/2014/main" id="{7A07FC1B-437A-0C53-42BC-74908F48F11D}"/>
                    </a:ext>
                  </a:extLst>
                </p:cNvPr>
                <p:cNvSpPr/>
                <p:nvPr/>
              </p:nvSpPr>
              <p:spPr>
                <a:xfrm>
                  <a:off x="5751496" y="2875089"/>
                  <a:ext cx="648835" cy="577916"/>
                </a:xfrm>
                <a:prstGeom prst="rect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7132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1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2" name="Grupo 120">
                  <a:extLst>
                    <a:ext uri="{FF2B5EF4-FFF2-40B4-BE49-F238E27FC236}">
                      <a16:creationId xmlns:a16="http://schemas.microsoft.com/office/drawing/2014/main" id="{828DBE49-2651-329B-42F7-F3A64BC13C4B}"/>
                    </a:ext>
                  </a:extLst>
                </p:cNvPr>
                <p:cNvGrpSpPr/>
                <p:nvPr/>
              </p:nvGrpSpPr>
              <p:grpSpPr>
                <a:xfrm>
                  <a:off x="4493639" y="697391"/>
                  <a:ext cx="2491077" cy="4220274"/>
                  <a:chOff x="4493639" y="697391"/>
                  <a:chExt cx="2491077" cy="4220274"/>
                </a:xfrm>
                <a:grpFill/>
              </p:grpSpPr>
              <p:grpSp>
                <p:nvGrpSpPr>
                  <p:cNvPr id="124" name="Grupo 122">
                    <a:extLst>
                      <a:ext uri="{FF2B5EF4-FFF2-40B4-BE49-F238E27FC236}">
                        <a16:creationId xmlns:a16="http://schemas.microsoft.com/office/drawing/2014/main" id="{ED0B3184-EF71-459A-EFD5-7EBBD384F0CA}"/>
                      </a:ext>
                    </a:extLst>
                  </p:cNvPr>
                  <p:cNvGrpSpPr/>
                  <p:nvPr/>
                </p:nvGrpSpPr>
                <p:grpSpPr>
                  <a:xfrm>
                    <a:off x="4493639" y="697391"/>
                    <a:ext cx="2491077" cy="4220274"/>
                    <a:chOff x="4493639" y="697391"/>
                    <a:chExt cx="2491077" cy="4220274"/>
                  </a:xfrm>
                  <a:grpFill/>
                </p:grpSpPr>
                <p:sp>
                  <p:nvSpPr>
                    <p:cNvPr id="126" name="Forma libre 225">
                      <a:extLst>
                        <a:ext uri="{FF2B5EF4-FFF2-40B4-BE49-F238E27FC236}">
                          <a16:creationId xmlns:a16="http://schemas.microsoft.com/office/drawing/2014/main" id="{D24B0532-A022-AC79-8438-E65C6C3769C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23855" y="3123931"/>
                      <a:ext cx="960861" cy="1793734"/>
                    </a:xfrm>
                    <a:custGeom>
                      <a:avLst/>
                      <a:gdLst>
                        <a:gd name="connsiteX0" fmla="*/ 55101 w 960861"/>
                        <a:gd name="connsiteY0" fmla="*/ 0 h 1793734"/>
                        <a:gd name="connsiteX1" fmla="*/ 960861 w 960861"/>
                        <a:gd name="connsiteY1" fmla="*/ 0 h 1793734"/>
                        <a:gd name="connsiteX2" fmla="*/ 960861 w 960861"/>
                        <a:gd name="connsiteY2" fmla="*/ 1793734 h 1793734"/>
                        <a:gd name="connsiteX3" fmla="*/ 927213 w 960861"/>
                        <a:gd name="connsiteY3" fmla="*/ 1793734 h 1793734"/>
                        <a:gd name="connsiteX4" fmla="*/ 882404 w 960861"/>
                        <a:gd name="connsiteY4" fmla="*/ 1793734 h 1793734"/>
                        <a:gd name="connsiteX5" fmla="*/ 780587 w 960861"/>
                        <a:gd name="connsiteY5" fmla="*/ 1680819 h 1793734"/>
                        <a:gd name="connsiteX6" fmla="*/ 814527 w 960861"/>
                        <a:gd name="connsiteY6" fmla="*/ 1643179 h 1793734"/>
                        <a:gd name="connsiteX7" fmla="*/ 712710 w 960861"/>
                        <a:gd name="connsiteY7" fmla="*/ 1454988 h 1793734"/>
                        <a:gd name="connsiteX8" fmla="*/ 644835 w 960861"/>
                        <a:gd name="connsiteY8" fmla="*/ 1379710 h 1793734"/>
                        <a:gd name="connsiteX9" fmla="*/ 543017 w 960861"/>
                        <a:gd name="connsiteY9" fmla="*/ 1379710 h 1793734"/>
                        <a:gd name="connsiteX10" fmla="*/ 475141 w 960861"/>
                        <a:gd name="connsiteY10" fmla="*/ 1342072 h 1793734"/>
                        <a:gd name="connsiteX11" fmla="*/ 475141 w 960861"/>
                        <a:gd name="connsiteY11" fmla="*/ 1229157 h 1793734"/>
                        <a:gd name="connsiteX12" fmla="*/ 305448 w 960861"/>
                        <a:gd name="connsiteY12" fmla="*/ 1040964 h 1793734"/>
                        <a:gd name="connsiteX13" fmla="*/ 101817 w 960861"/>
                        <a:gd name="connsiteY13" fmla="*/ 928048 h 1793734"/>
                        <a:gd name="connsiteX14" fmla="*/ 0 w 960861"/>
                        <a:gd name="connsiteY14" fmla="*/ 777493 h 1793734"/>
                        <a:gd name="connsiteX15" fmla="*/ 101817 w 960861"/>
                        <a:gd name="connsiteY15" fmla="*/ 626940 h 1793734"/>
                        <a:gd name="connsiteX16" fmla="*/ 169694 w 960861"/>
                        <a:gd name="connsiteY16" fmla="*/ 476386 h 1793734"/>
                        <a:gd name="connsiteX17" fmla="*/ 67877 w 960861"/>
                        <a:gd name="connsiteY17" fmla="*/ 514024 h 1793734"/>
                        <a:gd name="connsiteX18" fmla="*/ 135754 w 960861"/>
                        <a:gd name="connsiteY18" fmla="*/ 438747 h 1793734"/>
                        <a:gd name="connsiteX19" fmla="*/ 203633 w 960861"/>
                        <a:gd name="connsiteY19" fmla="*/ 325831 h 1793734"/>
                        <a:gd name="connsiteX20" fmla="*/ 271510 w 960861"/>
                        <a:gd name="connsiteY20" fmla="*/ 288193 h 1793734"/>
                        <a:gd name="connsiteX21" fmla="*/ 305448 w 960861"/>
                        <a:gd name="connsiteY21" fmla="*/ 100001 h 1793734"/>
                        <a:gd name="connsiteX22" fmla="*/ 271510 w 960861"/>
                        <a:gd name="connsiteY22" fmla="*/ 100001 h 1793734"/>
                        <a:gd name="connsiteX23" fmla="*/ 99695 w 960861"/>
                        <a:gd name="connsiteY23" fmla="*/ 20606 h 17937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960861" h="1793734">
                          <a:moveTo>
                            <a:pt x="55101" y="0"/>
                          </a:moveTo>
                          <a:lnTo>
                            <a:pt x="960861" y="0"/>
                          </a:lnTo>
                          <a:lnTo>
                            <a:pt x="960861" y="1793734"/>
                          </a:lnTo>
                          <a:lnTo>
                            <a:pt x="927213" y="1793734"/>
                          </a:lnTo>
                          <a:cubicBezTo>
                            <a:pt x="914221" y="1793734"/>
                            <a:pt x="899373" y="1793734"/>
                            <a:pt x="882404" y="1793734"/>
                          </a:cubicBezTo>
                          <a:cubicBezTo>
                            <a:pt x="882404" y="1793734"/>
                            <a:pt x="882404" y="1793734"/>
                            <a:pt x="780587" y="1680819"/>
                          </a:cubicBezTo>
                          <a:cubicBezTo>
                            <a:pt x="780587" y="1680819"/>
                            <a:pt x="780587" y="1680819"/>
                            <a:pt x="814527" y="1643179"/>
                          </a:cubicBezTo>
                          <a:cubicBezTo>
                            <a:pt x="814527" y="1643179"/>
                            <a:pt x="814527" y="1643179"/>
                            <a:pt x="712710" y="1454988"/>
                          </a:cubicBezTo>
                          <a:cubicBezTo>
                            <a:pt x="712710" y="1454988"/>
                            <a:pt x="712710" y="1454988"/>
                            <a:pt x="644835" y="1379710"/>
                          </a:cubicBezTo>
                          <a:cubicBezTo>
                            <a:pt x="644835" y="1379710"/>
                            <a:pt x="644835" y="1379710"/>
                            <a:pt x="543017" y="1379710"/>
                          </a:cubicBezTo>
                          <a:cubicBezTo>
                            <a:pt x="543017" y="1379710"/>
                            <a:pt x="543017" y="1379710"/>
                            <a:pt x="475141" y="1342072"/>
                          </a:cubicBezTo>
                          <a:cubicBezTo>
                            <a:pt x="475141" y="1342072"/>
                            <a:pt x="475141" y="1342072"/>
                            <a:pt x="475141" y="1229157"/>
                          </a:cubicBezTo>
                          <a:cubicBezTo>
                            <a:pt x="475141" y="1229157"/>
                            <a:pt x="475141" y="1229157"/>
                            <a:pt x="305448" y="1040964"/>
                          </a:cubicBezTo>
                          <a:cubicBezTo>
                            <a:pt x="305448" y="1040964"/>
                            <a:pt x="305448" y="1040964"/>
                            <a:pt x="101817" y="928048"/>
                          </a:cubicBezTo>
                          <a:cubicBezTo>
                            <a:pt x="101817" y="928048"/>
                            <a:pt x="101817" y="928048"/>
                            <a:pt x="0" y="777493"/>
                          </a:cubicBezTo>
                          <a:cubicBezTo>
                            <a:pt x="0" y="777493"/>
                            <a:pt x="0" y="777493"/>
                            <a:pt x="101817" y="626940"/>
                          </a:cubicBezTo>
                          <a:cubicBezTo>
                            <a:pt x="101817" y="626940"/>
                            <a:pt x="101817" y="626940"/>
                            <a:pt x="169694" y="476386"/>
                          </a:cubicBezTo>
                          <a:cubicBezTo>
                            <a:pt x="169694" y="476386"/>
                            <a:pt x="169694" y="476386"/>
                            <a:pt x="67877" y="514024"/>
                          </a:cubicBezTo>
                          <a:cubicBezTo>
                            <a:pt x="67877" y="514024"/>
                            <a:pt x="67877" y="514024"/>
                            <a:pt x="135754" y="438747"/>
                          </a:cubicBezTo>
                          <a:cubicBezTo>
                            <a:pt x="135754" y="438747"/>
                            <a:pt x="135754" y="438747"/>
                            <a:pt x="203633" y="325831"/>
                          </a:cubicBezTo>
                          <a:cubicBezTo>
                            <a:pt x="203633" y="325831"/>
                            <a:pt x="203633" y="325831"/>
                            <a:pt x="271510" y="288193"/>
                          </a:cubicBezTo>
                          <a:cubicBezTo>
                            <a:pt x="271510" y="288193"/>
                            <a:pt x="271510" y="288193"/>
                            <a:pt x="305448" y="100001"/>
                          </a:cubicBezTo>
                          <a:cubicBezTo>
                            <a:pt x="305448" y="100001"/>
                            <a:pt x="305448" y="100001"/>
                            <a:pt x="271510" y="100001"/>
                          </a:cubicBezTo>
                          <a:cubicBezTo>
                            <a:pt x="271510" y="100001"/>
                            <a:pt x="271510" y="100001"/>
                            <a:pt x="99695" y="20606"/>
                          </a:cubicBezTo>
                          <a:close/>
                        </a:path>
                      </a:pathLst>
                    </a:custGeom>
                    <a:grpFill/>
                    <a:ln w="12700" cap="flat" cmpd="sng" algn="ctr">
                      <a:solidFill>
                        <a:sysClr val="window" lastClr="FFFFFF">
                          <a:lumMod val="95000"/>
                        </a:sys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wrap="square">
                      <a:noAutofit/>
                    </a:bodyPr>
                    <a:lstStyle>
                      <a:defPPr>
                        <a:defRPr lang="en-GB"/>
                      </a:defPPr>
                      <a:lvl1pPr algn="l" defTabSz="449263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indent="-285750" algn="l" defTabSz="449263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indent="-228600" algn="l" defTabSz="449263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indent="-228600" algn="l" defTabSz="449263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indent="-228600" algn="l" defTabSz="449263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6" charset="0"/>
                        <a:buNone/>
                        <a:tabLst/>
                        <a:defRPr/>
                      </a:pPr>
                      <a:endParaRPr kumimoji="0" lang="en-GB" sz="81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ＭＳ Ｐゴシック" charset="-128"/>
                        <a:cs typeface="+mn-cs"/>
                      </a:endParaRPr>
                    </a:p>
                  </p:txBody>
                </p:sp>
                <p:sp>
                  <p:nvSpPr>
                    <p:cNvPr id="127" name="Freeform 99">
                      <a:extLst>
                        <a:ext uri="{FF2B5EF4-FFF2-40B4-BE49-F238E27FC236}">
                          <a16:creationId xmlns:a16="http://schemas.microsoft.com/office/drawing/2014/main" id="{03697C4C-BEF0-3692-2693-9FFDD3E27DF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493639" y="697391"/>
                      <a:ext cx="1262272" cy="2479259"/>
                    </a:xfrm>
                    <a:custGeom>
                      <a:avLst/>
                      <a:gdLst>
                        <a:gd name="T0" fmla="*/ 1011 w 1115"/>
                        <a:gd name="T1" fmla="*/ 102 h 2190"/>
                        <a:gd name="T2" fmla="*/ 961 w 1115"/>
                        <a:gd name="T3" fmla="*/ 174 h 2190"/>
                        <a:gd name="T4" fmla="*/ 902 w 1115"/>
                        <a:gd name="T5" fmla="*/ 150 h 2190"/>
                        <a:gd name="T6" fmla="*/ 877 w 1115"/>
                        <a:gd name="T7" fmla="*/ 134 h 2190"/>
                        <a:gd name="T8" fmla="*/ 902 w 1115"/>
                        <a:gd name="T9" fmla="*/ 54 h 2190"/>
                        <a:gd name="T10" fmla="*/ 801 w 1115"/>
                        <a:gd name="T11" fmla="*/ 14 h 2190"/>
                        <a:gd name="T12" fmla="*/ 742 w 1115"/>
                        <a:gd name="T13" fmla="*/ 54 h 2190"/>
                        <a:gd name="T14" fmla="*/ 818 w 1115"/>
                        <a:gd name="T15" fmla="*/ 190 h 2190"/>
                        <a:gd name="T16" fmla="*/ 902 w 1115"/>
                        <a:gd name="T17" fmla="*/ 254 h 2190"/>
                        <a:gd name="T18" fmla="*/ 801 w 1115"/>
                        <a:gd name="T19" fmla="*/ 302 h 2190"/>
                        <a:gd name="T20" fmla="*/ 776 w 1115"/>
                        <a:gd name="T21" fmla="*/ 350 h 2190"/>
                        <a:gd name="T22" fmla="*/ 717 w 1115"/>
                        <a:gd name="T23" fmla="*/ 470 h 2190"/>
                        <a:gd name="T24" fmla="*/ 750 w 1115"/>
                        <a:gd name="T25" fmla="*/ 574 h 2190"/>
                        <a:gd name="T26" fmla="*/ 582 w 1115"/>
                        <a:gd name="T27" fmla="*/ 574 h 2190"/>
                        <a:gd name="T28" fmla="*/ 658 w 1115"/>
                        <a:gd name="T29" fmla="*/ 638 h 2190"/>
                        <a:gd name="T30" fmla="*/ 700 w 1115"/>
                        <a:gd name="T31" fmla="*/ 670 h 2190"/>
                        <a:gd name="T32" fmla="*/ 649 w 1115"/>
                        <a:gd name="T33" fmla="*/ 702 h 2190"/>
                        <a:gd name="T34" fmla="*/ 523 w 1115"/>
                        <a:gd name="T35" fmla="*/ 670 h 2190"/>
                        <a:gd name="T36" fmla="*/ 438 w 1115"/>
                        <a:gd name="T37" fmla="*/ 542 h 2190"/>
                        <a:gd name="T38" fmla="*/ 380 w 1115"/>
                        <a:gd name="T39" fmla="*/ 486 h 2190"/>
                        <a:gd name="T40" fmla="*/ 287 w 1115"/>
                        <a:gd name="T41" fmla="*/ 414 h 2190"/>
                        <a:gd name="T42" fmla="*/ 565 w 1115"/>
                        <a:gd name="T43" fmla="*/ 438 h 2190"/>
                        <a:gd name="T44" fmla="*/ 683 w 1115"/>
                        <a:gd name="T45" fmla="*/ 374 h 2190"/>
                        <a:gd name="T46" fmla="*/ 708 w 1115"/>
                        <a:gd name="T47" fmla="*/ 246 h 2190"/>
                        <a:gd name="T48" fmla="*/ 447 w 1115"/>
                        <a:gd name="T49" fmla="*/ 142 h 2190"/>
                        <a:gd name="T50" fmla="*/ 152 w 1115"/>
                        <a:gd name="T51" fmla="*/ 118 h 2190"/>
                        <a:gd name="T52" fmla="*/ 169 w 1115"/>
                        <a:gd name="T53" fmla="*/ 78 h 2190"/>
                        <a:gd name="T54" fmla="*/ 76 w 1115"/>
                        <a:gd name="T55" fmla="*/ 110 h 2190"/>
                        <a:gd name="T56" fmla="*/ 9 w 1115"/>
                        <a:gd name="T57" fmla="*/ 214 h 2190"/>
                        <a:gd name="T58" fmla="*/ 68 w 1115"/>
                        <a:gd name="T59" fmla="*/ 342 h 2190"/>
                        <a:gd name="T60" fmla="*/ 144 w 1115"/>
                        <a:gd name="T61" fmla="*/ 534 h 2190"/>
                        <a:gd name="T62" fmla="*/ 177 w 1115"/>
                        <a:gd name="T63" fmla="*/ 702 h 2190"/>
                        <a:gd name="T64" fmla="*/ 270 w 1115"/>
                        <a:gd name="T65" fmla="*/ 846 h 2190"/>
                        <a:gd name="T66" fmla="*/ 380 w 1115"/>
                        <a:gd name="T67" fmla="*/ 998 h 2190"/>
                        <a:gd name="T68" fmla="*/ 262 w 1115"/>
                        <a:gd name="T69" fmla="*/ 1238 h 2190"/>
                        <a:gd name="T70" fmla="*/ 346 w 1115"/>
                        <a:gd name="T71" fmla="*/ 1270 h 2190"/>
                        <a:gd name="T72" fmla="*/ 388 w 1115"/>
                        <a:gd name="T73" fmla="*/ 1294 h 2190"/>
                        <a:gd name="T74" fmla="*/ 337 w 1115"/>
                        <a:gd name="T75" fmla="*/ 1326 h 2190"/>
                        <a:gd name="T76" fmla="*/ 287 w 1115"/>
                        <a:gd name="T77" fmla="*/ 1382 h 2190"/>
                        <a:gd name="T78" fmla="*/ 287 w 1115"/>
                        <a:gd name="T79" fmla="*/ 1446 h 2190"/>
                        <a:gd name="T80" fmla="*/ 312 w 1115"/>
                        <a:gd name="T81" fmla="*/ 1622 h 2190"/>
                        <a:gd name="T82" fmla="*/ 388 w 1115"/>
                        <a:gd name="T83" fmla="*/ 1702 h 2190"/>
                        <a:gd name="T84" fmla="*/ 438 w 1115"/>
                        <a:gd name="T85" fmla="*/ 1758 h 2190"/>
                        <a:gd name="T86" fmla="*/ 514 w 1115"/>
                        <a:gd name="T87" fmla="*/ 1774 h 2190"/>
                        <a:gd name="T88" fmla="*/ 607 w 1115"/>
                        <a:gd name="T89" fmla="*/ 1774 h 2190"/>
                        <a:gd name="T90" fmla="*/ 649 w 1115"/>
                        <a:gd name="T91" fmla="*/ 1862 h 2190"/>
                        <a:gd name="T92" fmla="*/ 717 w 1115"/>
                        <a:gd name="T93" fmla="*/ 1918 h 2190"/>
                        <a:gd name="T94" fmla="*/ 835 w 1115"/>
                        <a:gd name="T95" fmla="*/ 1966 h 2190"/>
                        <a:gd name="T96" fmla="*/ 826 w 1115"/>
                        <a:gd name="T97" fmla="*/ 2030 h 2190"/>
                        <a:gd name="T98" fmla="*/ 792 w 1115"/>
                        <a:gd name="T99" fmla="*/ 2078 h 2190"/>
                        <a:gd name="T100" fmla="*/ 835 w 1115"/>
                        <a:gd name="T101" fmla="*/ 2158 h 2190"/>
                        <a:gd name="T102" fmla="*/ 877 w 1115"/>
                        <a:gd name="T103" fmla="*/ 2118 h 2190"/>
                        <a:gd name="T104" fmla="*/ 1011 w 1115"/>
                        <a:gd name="T105" fmla="*/ 2102 h 2190"/>
                        <a:gd name="T106" fmla="*/ 1054 w 1115"/>
                        <a:gd name="T107" fmla="*/ 2182 h 2190"/>
                        <a:gd name="T108" fmla="*/ 1115 w 1115"/>
                        <a:gd name="T109" fmla="*/ 0 h 2190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</a:gdLst>
                      <a:ahLst/>
                      <a:cxnLst>
                        <a:cxn ang="T110">
                          <a:pos x="T0" y="T1"/>
                        </a:cxn>
                        <a:cxn ang="T111">
                          <a:pos x="T2" y="T3"/>
                        </a:cxn>
                        <a:cxn ang="T112">
                          <a:pos x="T4" y="T5"/>
                        </a:cxn>
                        <a:cxn ang="T113">
                          <a:pos x="T6" y="T7"/>
                        </a:cxn>
                        <a:cxn ang="T114">
                          <a:pos x="T8" y="T9"/>
                        </a:cxn>
                        <a:cxn ang="T115">
                          <a:pos x="T10" y="T11"/>
                        </a:cxn>
                        <a:cxn ang="T116">
                          <a:pos x="T12" y="T13"/>
                        </a:cxn>
                        <a:cxn ang="T117">
                          <a:pos x="T14" y="T15"/>
                        </a:cxn>
                        <a:cxn ang="T118">
                          <a:pos x="T16" y="T17"/>
                        </a:cxn>
                        <a:cxn ang="T119">
                          <a:pos x="T18" y="T19"/>
                        </a:cxn>
                        <a:cxn ang="T120">
                          <a:pos x="T20" y="T21"/>
                        </a:cxn>
                        <a:cxn ang="T121">
                          <a:pos x="T22" y="T23"/>
                        </a:cxn>
                        <a:cxn ang="T122">
                          <a:pos x="T24" y="T25"/>
                        </a:cxn>
                        <a:cxn ang="T123">
                          <a:pos x="T26" y="T27"/>
                        </a:cxn>
                        <a:cxn ang="T124">
                          <a:pos x="T28" y="T29"/>
                        </a:cxn>
                        <a:cxn ang="T125">
                          <a:pos x="T30" y="T31"/>
                        </a:cxn>
                        <a:cxn ang="T126">
                          <a:pos x="T32" y="T33"/>
                        </a:cxn>
                        <a:cxn ang="T127">
                          <a:pos x="T34" y="T35"/>
                        </a:cxn>
                        <a:cxn ang="T128">
                          <a:pos x="T36" y="T37"/>
                        </a:cxn>
                        <a:cxn ang="T129">
                          <a:pos x="T38" y="T39"/>
                        </a:cxn>
                        <a:cxn ang="T130">
                          <a:pos x="T40" y="T41"/>
                        </a:cxn>
                        <a:cxn ang="T131">
                          <a:pos x="T42" y="T43"/>
                        </a:cxn>
                        <a:cxn ang="T132">
                          <a:pos x="T44" y="T45"/>
                        </a:cxn>
                        <a:cxn ang="T133">
                          <a:pos x="T46" y="T47"/>
                        </a:cxn>
                        <a:cxn ang="T134">
                          <a:pos x="T48" y="T49"/>
                        </a:cxn>
                        <a:cxn ang="T135">
                          <a:pos x="T50" y="T51"/>
                        </a:cxn>
                        <a:cxn ang="T136">
                          <a:pos x="T52" y="T53"/>
                        </a:cxn>
                        <a:cxn ang="T137">
                          <a:pos x="T54" y="T55"/>
                        </a:cxn>
                        <a:cxn ang="T138">
                          <a:pos x="T56" y="T57"/>
                        </a:cxn>
                        <a:cxn ang="T139">
                          <a:pos x="T58" y="T59"/>
                        </a:cxn>
                        <a:cxn ang="T140">
                          <a:pos x="T60" y="T61"/>
                        </a:cxn>
                        <a:cxn ang="T141">
                          <a:pos x="T62" y="T63"/>
                        </a:cxn>
                        <a:cxn ang="T142">
                          <a:pos x="T64" y="T65"/>
                        </a:cxn>
                        <a:cxn ang="T143">
                          <a:pos x="T66" y="T67"/>
                        </a:cxn>
                        <a:cxn ang="T144">
                          <a:pos x="T68" y="T69"/>
                        </a:cxn>
                        <a:cxn ang="T145">
                          <a:pos x="T70" y="T71"/>
                        </a:cxn>
                        <a:cxn ang="T146">
                          <a:pos x="T72" y="T73"/>
                        </a:cxn>
                        <a:cxn ang="T147">
                          <a:pos x="T74" y="T75"/>
                        </a:cxn>
                        <a:cxn ang="T148">
                          <a:pos x="T76" y="T77"/>
                        </a:cxn>
                        <a:cxn ang="T149">
                          <a:pos x="T78" y="T79"/>
                        </a:cxn>
                        <a:cxn ang="T150">
                          <a:pos x="T80" y="T81"/>
                        </a:cxn>
                        <a:cxn ang="T151">
                          <a:pos x="T82" y="T83"/>
                        </a:cxn>
                        <a:cxn ang="T152">
                          <a:pos x="T84" y="T85"/>
                        </a:cxn>
                        <a:cxn ang="T153">
                          <a:pos x="T86" y="T87"/>
                        </a:cxn>
                        <a:cxn ang="T154">
                          <a:pos x="T88" y="T89"/>
                        </a:cxn>
                        <a:cxn ang="T155">
                          <a:pos x="T90" y="T91"/>
                        </a:cxn>
                        <a:cxn ang="T156">
                          <a:pos x="T92" y="T93"/>
                        </a:cxn>
                        <a:cxn ang="T157">
                          <a:pos x="T94" y="T95"/>
                        </a:cxn>
                        <a:cxn ang="T158">
                          <a:pos x="T96" y="T97"/>
                        </a:cxn>
                        <a:cxn ang="T159">
                          <a:pos x="T98" y="T99"/>
                        </a:cxn>
                        <a:cxn ang="T160">
                          <a:pos x="T100" y="T101"/>
                        </a:cxn>
                        <a:cxn ang="T161">
                          <a:pos x="T102" y="T103"/>
                        </a:cxn>
                        <a:cxn ang="T162">
                          <a:pos x="T104" y="T105"/>
                        </a:cxn>
                        <a:cxn ang="T163">
                          <a:pos x="T106" y="T107"/>
                        </a:cxn>
                        <a:cxn ang="T164">
                          <a:pos x="T108" y="T109"/>
                        </a:cxn>
                      </a:cxnLst>
                      <a:rect l="0" t="0" r="r" b="b"/>
                      <a:pathLst>
                        <a:path w="1115" h="2190">
                          <a:moveTo>
                            <a:pt x="1011" y="0"/>
                          </a:moveTo>
                          <a:lnTo>
                            <a:pt x="995" y="54"/>
                          </a:lnTo>
                          <a:lnTo>
                            <a:pt x="1011" y="102"/>
                          </a:lnTo>
                          <a:lnTo>
                            <a:pt x="1011" y="126"/>
                          </a:lnTo>
                          <a:lnTo>
                            <a:pt x="1003" y="150"/>
                          </a:lnTo>
                          <a:lnTo>
                            <a:pt x="961" y="174"/>
                          </a:lnTo>
                          <a:lnTo>
                            <a:pt x="936" y="174"/>
                          </a:lnTo>
                          <a:lnTo>
                            <a:pt x="919" y="158"/>
                          </a:lnTo>
                          <a:lnTo>
                            <a:pt x="902" y="150"/>
                          </a:lnTo>
                          <a:lnTo>
                            <a:pt x="893" y="158"/>
                          </a:lnTo>
                          <a:lnTo>
                            <a:pt x="877" y="158"/>
                          </a:lnTo>
                          <a:lnTo>
                            <a:pt x="877" y="134"/>
                          </a:lnTo>
                          <a:lnTo>
                            <a:pt x="877" y="102"/>
                          </a:lnTo>
                          <a:lnTo>
                            <a:pt x="893" y="78"/>
                          </a:lnTo>
                          <a:lnTo>
                            <a:pt x="902" y="54"/>
                          </a:lnTo>
                          <a:lnTo>
                            <a:pt x="893" y="38"/>
                          </a:lnTo>
                          <a:lnTo>
                            <a:pt x="851" y="6"/>
                          </a:lnTo>
                          <a:lnTo>
                            <a:pt x="801" y="14"/>
                          </a:lnTo>
                          <a:lnTo>
                            <a:pt x="750" y="30"/>
                          </a:lnTo>
                          <a:lnTo>
                            <a:pt x="700" y="38"/>
                          </a:lnTo>
                          <a:lnTo>
                            <a:pt x="742" y="54"/>
                          </a:lnTo>
                          <a:lnTo>
                            <a:pt x="784" y="78"/>
                          </a:lnTo>
                          <a:lnTo>
                            <a:pt x="809" y="166"/>
                          </a:lnTo>
                          <a:lnTo>
                            <a:pt x="818" y="190"/>
                          </a:lnTo>
                          <a:lnTo>
                            <a:pt x="843" y="190"/>
                          </a:lnTo>
                          <a:lnTo>
                            <a:pt x="877" y="214"/>
                          </a:lnTo>
                          <a:lnTo>
                            <a:pt x="902" y="254"/>
                          </a:lnTo>
                          <a:lnTo>
                            <a:pt x="910" y="302"/>
                          </a:lnTo>
                          <a:lnTo>
                            <a:pt x="851" y="294"/>
                          </a:lnTo>
                          <a:lnTo>
                            <a:pt x="801" y="302"/>
                          </a:lnTo>
                          <a:lnTo>
                            <a:pt x="784" y="310"/>
                          </a:lnTo>
                          <a:lnTo>
                            <a:pt x="784" y="318"/>
                          </a:lnTo>
                          <a:lnTo>
                            <a:pt x="776" y="350"/>
                          </a:lnTo>
                          <a:lnTo>
                            <a:pt x="750" y="390"/>
                          </a:lnTo>
                          <a:lnTo>
                            <a:pt x="725" y="438"/>
                          </a:lnTo>
                          <a:lnTo>
                            <a:pt x="717" y="470"/>
                          </a:lnTo>
                          <a:lnTo>
                            <a:pt x="733" y="486"/>
                          </a:lnTo>
                          <a:lnTo>
                            <a:pt x="818" y="550"/>
                          </a:lnTo>
                          <a:lnTo>
                            <a:pt x="750" y="574"/>
                          </a:lnTo>
                          <a:lnTo>
                            <a:pt x="666" y="574"/>
                          </a:lnTo>
                          <a:lnTo>
                            <a:pt x="599" y="558"/>
                          </a:lnTo>
                          <a:lnTo>
                            <a:pt x="582" y="574"/>
                          </a:lnTo>
                          <a:lnTo>
                            <a:pt x="573" y="598"/>
                          </a:lnTo>
                          <a:lnTo>
                            <a:pt x="607" y="630"/>
                          </a:lnTo>
                          <a:lnTo>
                            <a:pt x="658" y="638"/>
                          </a:lnTo>
                          <a:lnTo>
                            <a:pt x="683" y="638"/>
                          </a:lnTo>
                          <a:lnTo>
                            <a:pt x="700" y="654"/>
                          </a:lnTo>
                          <a:lnTo>
                            <a:pt x="700" y="670"/>
                          </a:lnTo>
                          <a:lnTo>
                            <a:pt x="683" y="694"/>
                          </a:lnTo>
                          <a:lnTo>
                            <a:pt x="674" y="702"/>
                          </a:lnTo>
                          <a:lnTo>
                            <a:pt x="649" y="702"/>
                          </a:lnTo>
                          <a:lnTo>
                            <a:pt x="599" y="686"/>
                          </a:lnTo>
                          <a:lnTo>
                            <a:pt x="548" y="678"/>
                          </a:lnTo>
                          <a:lnTo>
                            <a:pt x="523" y="670"/>
                          </a:lnTo>
                          <a:lnTo>
                            <a:pt x="506" y="654"/>
                          </a:lnTo>
                          <a:lnTo>
                            <a:pt x="447" y="582"/>
                          </a:lnTo>
                          <a:lnTo>
                            <a:pt x="438" y="542"/>
                          </a:lnTo>
                          <a:lnTo>
                            <a:pt x="438" y="526"/>
                          </a:lnTo>
                          <a:lnTo>
                            <a:pt x="430" y="502"/>
                          </a:lnTo>
                          <a:lnTo>
                            <a:pt x="380" y="486"/>
                          </a:lnTo>
                          <a:lnTo>
                            <a:pt x="337" y="470"/>
                          </a:lnTo>
                          <a:lnTo>
                            <a:pt x="253" y="414"/>
                          </a:lnTo>
                          <a:lnTo>
                            <a:pt x="287" y="414"/>
                          </a:lnTo>
                          <a:lnTo>
                            <a:pt x="321" y="430"/>
                          </a:lnTo>
                          <a:lnTo>
                            <a:pt x="396" y="430"/>
                          </a:lnTo>
                          <a:lnTo>
                            <a:pt x="565" y="438"/>
                          </a:lnTo>
                          <a:lnTo>
                            <a:pt x="624" y="422"/>
                          </a:lnTo>
                          <a:lnTo>
                            <a:pt x="658" y="406"/>
                          </a:lnTo>
                          <a:lnTo>
                            <a:pt x="683" y="374"/>
                          </a:lnTo>
                          <a:lnTo>
                            <a:pt x="708" y="310"/>
                          </a:lnTo>
                          <a:lnTo>
                            <a:pt x="717" y="278"/>
                          </a:lnTo>
                          <a:lnTo>
                            <a:pt x="708" y="246"/>
                          </a:lnTo>
                          <a:lnTo>
                            <a:pt x="666" y="198"/>
                          </a:lnTo>
                          <a:lnTo>
                            <a:pt x="599" y="182"/>
                          </a:lnTo>
                          <a:lnTo>
                            <a:pt x="447" y="142"/>
                          </a:lnTo>
                          <a:lnTo>
                            <a:pt x="371" y="118"/>
                          </a:lnTo>
                          <a:lnTo>
                            <a:pt x="304" y="118"/>
                          </a:lnTo>
                          <a:lnTo>
                            <a:pt x="152" y="118"/>
                          </a:lnTo>
                          <a:lnTo>
                            <a:pt x="177" y="94"/>
                          </a:lnTo>
                          <a:lnTo>
                            <a:pt x="186" y="86"/>
                          </a:lnTo>
                          <a:lnTo>
                            <a:pt x="169" y="78"/>
                          </a:lnTo>
                          <a:lnTo>
                            <a:pt x="127" y="70"/>
                          </a:lnTo>
                          <a:lnTo>
                            <a:pt x="110" y="102"/>
                          </a:lnTo>
                          <a:lnTo>
                            <a:pt x="76" y="110"/>
                          </a:lnTo>
                          <a:lnTo>
                            <a:pt x="76" y="134"/>
                          </a:lnTo>
                          <a:lnTo>
                            <a:pt x="42" y="166"/>
                          </a:lnTo>
                          <a:lnTo>
                            <a:pt x="9" y="214"/>
                          </a:lnTo>
                          <a:lnTo>
                            <a:pt x="0" y="262"/>
                          </a:lnTo>
                          <a:lnTo>
                            <a:pt x="26" y="326"/>
                          </a:lnTo>
                          <a:lnTo>
                            <a:pt x="68" y="342"/>
                          </a:lnTo>
                          <a:lnTo>
                            <a:pt x="110" y="382"/>
                          </a:lnTo>
                          <a:lnTo>
                            <a:pt x="93" y="438"/>
                          </a:lnTo>
                          <a:lnTo>
                            <a:pt x="144" y="534"/>
                          </a:lnTo>
                          <a:lnTo>
                            <a:pt x="211" y="598"/>
                          </a:lnTo>
                          <a:lnTo>
                            <a:pt x="169" y="646"/>
                          </a:lnTo>
                          <a:lnTo>
                            <a:pt x="177" y="702"/>
                          </a:lnTo>
                          <a:lnTo>
                            <a:pt x="245" y="742"/>
                          </a:lnTo>
                          <a:lnTo>
                            <a:pt x="287" y="798"/>
                          </a:lnTo>
                          <a:lnTo>
                            <a:pt x="270" y="846"/>
                          </a:lnTo>
                          <a:lnTo>
                            <a:pt x="337" y="886"/>
                          </a:lnTo>
                          <a:lnTo>
                            <a:pt x="388" y="934"/>
                          </a:lnTo>
                          <a:lnTo>
                            <a:pt x="380" y="998"/>
                          </a:lnTo>
                          <a:lnTo>
                            <a:pt x="337" y="1070"/>
                          </a:lnTo>
                          <a:lnTo>
                            <a:pt x="287" y="1142"/>
                          </a:lnTo>
                          <a:lnTo>
                            <a:pt x="262" y="1238"/>
                          </a:lnTo>
                          <a:lnTo>
                            <a:pt x="278" y="1222"/>
                          </a:lnTo>
                          <a:lnTo>
                            <a:pt x="304" y="1254"/>
                          </a:lnTo>
                          <a:lnTo>
                            <a:pt x="346" y="1270"/>
                          </a:lnTo>
                          <a:lnTo>
                            <a:pt x="396" y="1278"/>
                          </a:lnTo>
                          <a:lnTo>
                            <a:pt x="396" y="1286"/>
                          </a:lnTo>
                          <a:lnTo>
                            <a:pt x="388" y="1294"/>
                          </a:lnTo>
                          <a:lnTo>
                            <a:pt x="363" y="1302"/>
                          </a:lnTo>
                          <a:lnTo>
                            <a:pt x="346" y="1302"/>
                          </a:lnTo>
                          <a:lnTo>
                            <a:pt x="337" y="1326"/>
                          </a:lnTo>
                          <a:lnTo>
                            <a:pt x="287" y="1334"/>
                          </a:lnTo>
                          <a:lnTo>
                            <a:pt x="287" y="1358"/>
                          </a:lnTo>
                          <a:lnTo>
                            <a:pt x="287" y="1382"/>
                          </a:lnTo>
                          <a:lnTo>
                            <a:pt x="278" y="1382"/>
                          </a:lnTo>
                          <a:lnTo>
                            <a:pt x="287" y="1398"/>
                          </a:lnTo>
                          <a:lnTo>
                            <a:pt x="287" y="1446"/>
                          </a:lnTo>
                          <a:lnTo>
                            <a:pt x="287" y="1510"/>
                          </a:lnTo>
                          <a:lnTo>
                            <a:pt x="329" y="1558"/>
                          </a:lnTo>
                          <a:lnTo>
                            <a:pt x="312" y="1622"/>
                          </a:lnTo>
                          <a:lnTo>
                            <a:pt x="346" y="1630"/>
                          </a:lnTo>
                          <a:lnTo>
                            <a:pt x="354" y="1670"/>
                          </a:lnTo>
                          <a:lnTo>
                            <a:pt x="388" y="1702"/>
                          </a:lnTo>
                          <a:lnTo>
                            <a:pt x="413" y="1766"/>
                          </a:lnTo>
                          <a:lnTo>
                            <a:pt x="413" y="1758"/>
                          </a:lnTo>
                          <a:lnTo>
                            <a:pt x="438" y="1758"/>
                          </a:lnTo>
                          <a:lnTo>
                            <a:pt x="464" y="1774"/>
                          </a:lnTo>
                          <a:lnTo>
                            <a:pt x="481" y="1766"/>
                          </a:lnTo>
                          <a:lnTo>
                            <a:pt x="514" y="1774"/>
                          </a:lnTo>
                          <a:lnTo>
                            <a:pt x="531" y="1790"/>
                          </a:lnTo>
                          <a:lnTo>
                            <a:pt x="573" y="1766"/>
                          </a:lnTo>
                          <a:lnTo>
                            <a:pt x="607" y="1774"/>
                          </a:lnTo>
                          <a:lnTo>
                            <a:pt x="641" y="1798"/>
                          </a:lnTo>
                          <a:lnTo>
                            <a:pt x="649" y="1830"/>
                          </a:lnTo>
                          <a:lnTo>
                            <a:pt x="649" y="1862"/>
                          </a:lnTo>
                          <a:lnTo>
                            <a:pt x="683" y="1878"/>
                          </a:lnTo>
                          <a:lnTo>
                            <a:pt x="683" y="1894"/>
                          </a:lnTo>
                          <a:lnTo>
                            <a:pt x="717" y="1918"/>
                          </a:lnTo>
                          <a:lnTo>
                            <a:pt x="759" y="1926"/>
                          </a:lnTo>
                          <a:lnTo>
                            <a:pt x="767" y="1950"/>
                          </a:lnTo>
                          <a:lnTo>
                            <a:pt x="835" y="1966"/>
                          </a:lnTo>
                          <a:lnTo>
                            <a:pt x="860" y="1990"/>
                          </a:lnTo>
                          <a:lnTo>
                            <a:pt x="843" y="2014"/>
                          </a:lnTo>
                          <a:lnTo>
                            <a:pt x="826" y="2030"/>
                          </a:lnTo>
                          <a:lnTo>
                            <a:pt x="776" y="2038"/>
                          </a:lnTo>
                          <a:lnTo>
                            <a:pt x="767" y="2062"/>
                          </a:lnTo>
                          <a:lnTo>
                            <a:pt x="792" y="2078"/>
                          </a:lnTo>
                          <a:lnTo>
                            <a:pt x="792" y="2102"/>
                          </a:lnTo>
                          <a:lnTo>
                            <a:pt x="809" y="2126"/>
                          </a:lnTo>
                          <a:lnTo>
                            <a:pt x="835" y="2158"/>
                          </a:lnTo>
                          <a:lnTo>
                            <a:pt x="868" y="2158"/>
                          </a:lnTo>
                          <a:lnTo>
                            <a:pt x="877" y="2118"/>
                          </a:lnTo>
                          <a:lnTo>
                            <a:pt x="910" y="2118"/>
                          </a:lnTo>
                          <a:lnTo>
                            <a:pt x="969" y="2086"/>
                          </a:lnTo>
                          <a:lnTo>
                            <a:pt x="1011" y="2102"/>
                          </a:lnTo>
                          <a:lnTo>
                            <a:pt x="1054" y="2126"/>
                          </a:lnTo>
                          <a:lnTo>
                            <a:pt x="1037" y="2142"/>
                          </a:lnTo>
                          <a:lnTo>
                            <a:pt x="1054" y="2182"/>
                          </a:lnTo>
                          <a:lnTo>
                            <a:pt x="1079" y="2190"/>
                          </a:lnTo>
                          <a:lnTo>
                            <a:pt x="1113" y="2190"/>
                          </a:lnTo>
                          <a:lnTo>
                            <a:pt x="1115" y="0"/>
                          </a:lnTo>
                          <a:lnTo>
                            <a:pt x="1011" y="0"/>
                          </a:lnTo>
                          <a:close/>
                        </a:path>
                      </a:pathLst>
                    </a:custGeom>
                    <a:grpFill/>
                    <a:ln w="1270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s-E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1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25" name="Rectángulo 123">
                    <a:extLst>
                      <a:ext uri="{FF2B5EF4-FFF2-40B4-BE49-F238E27FC236}">
                        <a16:creationId xmlns:a16="http://schemas.microsoft.com/office/drawing/2014/main" id="{D4C5D156-61E9-2BBF-5B5C-8356D6529113}"/>
                      </a:ext>
                    </a:extLst>
                  </p:cNvPr>
                  <p:cNvSpPr/>
                  <p:nvPr/>
                </p:nvSpPr>
                <p:spPr>
                  <a:xfrm>
                    <a:off x="6131764" y="2881503"/>
                    <a:ext cx="341644" cy="362266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713232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81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3" name="Rectángulo 121">
                  <a:extLst>
                    <a:ext uri="{FF2B5EF4-FFF2-40B4-BE49-F238E27FC236}">
                      <a16:creationId xmlns:a16="http://schemas.microsoft.com/office/drawing/2014/main" id="{64C4F973-F76E-3EF8-08D7-77ECE368951F}"/>
                    </a:ext>
                  </a:extLst>
                </p:cNvPr>
                <p:cNvSpPr/>
                <p:nvPr/>
              </p:nvSpPr>
              <p:spPr>
                <a:xfrm>
                  <a:off x="6230434" y="3094791"/>
                  <a:ext cx="341644" cy="362266"/>
                </a:xfrm>
                <a:prstGeom prst="rect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7132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1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upo 128">
                <a:extLst>
                  <a:ext uri="{FF2B5EF4-FFF2-40B4-BE49-F238E27FC236}">
                    <a16:creationId xmlns:a16="http://schemas.microsoft.com/office/drawing/2014/main" id="{24CBDC00-0E28-F208-D8E6-36D781874CF4}"/>
                  </a:ext>
                </a:extLst>
              </p:cNvPr>
              <p:cNvGrpSpPr/>
              <p:nvPr/>
            </p:nvGrpSpPr>
            <p:grpSpPr>
              <a:xfrm>
                <a:off x="9319530" y="3631220"/>
                <a:ext cx="1961451" cy="1295548"/>
                <a:chOff x="7298273" y="3379188"/>
                <a:chExt cx="1590559" cy="1050572"/>
              </a:xfrm>
              <a:grpFill/>
            </p:grpSpPr>
            <p:sp>
              <p:nvSpPr>
                <p:cNvPr id="117" name="Freeform 91">
                  <a:extLst>
                    <a:ext uri="{FF2B5EF4-FFF2-40B4-BE49-F238E27FC236}">
                      <a16:creationId xmlns:a16="http://schemas.microsoft.com/office/drawing/2014/main" id="{0AFB93B0-825F-ABBF-E4AF-2D71CC0EB0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98273" y="3379188"/>
                  <a:ext cx="1096988" cy="1050572"/>
                </a:xfrm>
                <a:custGeom>
                  <a:avLst/>
                  <a:gdLst>
                    <a:gd name="T0" fmla="*/ 910 w 969"/>
                    <a:gd name="T1" fmla="*/ 96 h 928"/>
                    <a:gd name="T2" fmla="*/ 910 w 969"/>
                    <a:gd name="T3" fmla="*/ 40 h 928"/>
                    <a:gd name="T4" fmla="*/ 825 w 969"/>
                    <a:gd name="T5" fmla="*/ 0 h 928"/>
                    <a:gd name="T6" fmla="*/ 733 w 969"/>
                    <a:gd name="T7" fmla="*/ 32 h 928"/>
                    <a:gd name="T8" fmla="*/ 691 w 969"/>
                    <a:gd name="T9" fmla="*/ 72 h 928"/>
                    <a:gd name="T10" fmla="*/ 615 w 969"/>
                    <a:gd name="T11" fmla="*/ 160 h 928"/>
                    <a:gd name="T12" fmla="*/ 573 w 969"/>
                    <a:gd name="T13" fmla="*/ 176 h 928"/>
                    <a:gd name="T14" fmla="*/ 505 w 969"/>
                    <a:gd name="T15" fmla="*/ 184 h 928"/>
                    <a:gd name="T16" fmla="*/ 446 w 969"/>
                    <a:gd name="T17" fmla="*/ 200 h 928"/>
                    <a:gd name="T18" fmla="*/ 387 w 969"/>
                    <a:gd name="T19" fmla="*/ 224 h 928"/>
                    <a:gd name="T20" fmla="*/ 294 w 969"/>
                    <a:gd name="T21" fmla="*/ 208 h 928"/>
                    <a:gd name="T22" fmla="*/ 143 w 969"/>
                    <a:gd name="T23" fmla="*/ 224 h 928"/>
                    <a:gd name="T24" fmla="*/ 84 w 969"/>
                    <a:gd name="T25" fmla="*/ 272 h 928"/>
                    <a:gd name="T26" fmla="*/ 75 w 969"/>
                    <a:gd name="T27" fmla="*/ 304 h 928"/>
                    <a:gd name="T28" fmla="*/ 118 w 969"/>
                    <a:gd name="T29" fmla="*/ 408 h 928"/>
                    <a:gd name="T30" fmla="*/ 33 w 969"/>
                    <a:gd name="T31" fmla="*/ 512 h 928"/>
                    <a:gd name="T32" fmla="*/ 16 w 969"/>
                    <a:gd name="T33" fmla="*/ 592 h 928"/>
                    <a:gd name="T34" fmla="*/ 0 w 969"/>
                    <a:gd name="T35" fmla="*/ 680 h 928"/>
                    <a:gd name="T36" fmla="*/ 50 w 969"/>
                    <a:gd name="T37" fmla="*/ 696 h 928"/>
                    <a:gd name="T38" fmla="*/ 109 w 969"/>
                    <a:gd name="T39" fmla="*/ 696 h 928"/>
                    <a:gd name="T40" fmla="*/ 177 w 969"/>
                    <a:gd name="T41" fmla="*/ 704 h 928"/>
                    <a:gd name="T42" fmla="*/ 261 w 969"/>
                    <a:gd name="T43" fmla="*/ 712 h 928"/>
                    <a:gd name="T44" fmla="*/ 362 w 969"/>
                    <a:gd name="T45" fmla="*/ 664 h 928"/>
                    <a:gd name="T46" fmla="*/ 404 w 969"/>
                    <a:gd name="T47" fmla="*/ 616 h 928"/>
                    <a:gd name="T48" fmla="*/ 463 w 969"/>
                    <a:gd name="T49" fmla="*/ 600 h 928"/>
                    <a:gd name="T50" fmla="*/ 556 w 969"/>
                    <a:gd name="T51" fmla="*/ 600 h 928"/>
                    <a:gd name="T52" fmla="*/ 640 w 969"/>
                    <a:gd name="T53" fmla="*/ 648 h 928"/>
                    <a:gd name="T54" fmla="*/ 707 w 969"/>
                    <a:gd name="T55" fmla="*/ 696 h 928"/>
                    <a:gd name="T56" fmla="*/ 758 w 969"/>
                    <a:gd name="T57" fmla="*/ 760 h 928"/>
                    <a:gd name="T58" fmla="*/ 657 w 969"/>
                    <a:gd name="T59" fmla="*/ 800 h 928"/>
                    <a:gd name="T60" fmla="*/ 657 w 969"/>
                    <a:gd name="T61" fmla="*/ 888 h 928"/>
                    <a:gd name="T62" fmla="*/ 674 w 969"/>
                    <a:gd name="T63" fmla="*/ 928 h 928"/>
                    <a:gd name="T64" fmla="*/ 766 w 969"/>
                    <a:gd name="T65" fmla="*/ 904 h 928"/>
                    <a:gd name="T66" fmla="*/ 808 w 969"/>
                    <a:gd name="T67" fmla="*/ 768 h 928"/>
                    <a:gd name="T68" fmla="*/ 867 w 969"/>
                    <a:gd name="T69" fmla="*/ 704 h 928"/>
                    <a:gd name="T70" fmla="*/ 969 w 969"/>
                    <a:gd name="T71" fmla="*/ 688 h 928"/>
                    <a:gd name="T72" fmla="*/ 935 w 969"/>
                    <a:gd name="T73" fmla="*/ 104 h 928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969" h="928">
                      <a:moveTo>
                        <a:pt x="935" y="104"/>
                      </a:moveTo>
                      <a:lnTo>
                        <a:pt x="910" y="96"/>
                      </a:lnTo>
                      <a:lnTo>
                        <a:pt x="893" y="56"/>
                      </a:lnTo>
                      <a:lnTo>
                        <a:pt x="910" y="40"/>
                      </a:lnTo>
                      <a:lnTo>
                        <a:pt x="867" y="16"/>
                      </a:lnTo>
                      <a:lnTo>
                        <a:pt x="825" y="0"/>
                      </a:lnTo>
                      <a:lnTo>
                        <a:pt x="766" y="32"/>
                      </a:lnTo>
                      <a:lnTo>
                        <a:pt x="733" y="32"/>
                      </a:lnTo>
                      <a:lnTo>
                        <a:pt x="724" y="72"/>
                      </a:lnTo>
                      <a:lnTo>
                        <a:pt x="691" y="72"/>
                      </a:lnTo>
                      <a:lnTo>
                        <a:pt x="632" y="96"/>
                      </a:lnTo>
                      <a:lnTo>
                        <a:pt x="615" y="160"/>
                      </a:lnTo>
                      <a:lnTo>
                        <a:pt x="623" y="192"/>
                      </a:lnTo>
                      <a:lnTo>
                        <a:pt x="573" y="176"/>
                      </a:lnTo>
                      <a:lnTo>
                        <a:pt x="530" y="200"/>
                      </a:lnTo>
                      <a:lnTo>
                        <a:pt x="505" y="184"/>
                      </a:lnTo>
                      <a:lnTo>
                        <a:pt x="480" y="216"/>
                      </a:lnTo>
                      <a:lnTo>
                        <a:pt x="446" y="200"/>
                      </a:lnTo>
                      <a:lnTo>
                        <a:pt x="412" y="200"/>
                      </a:lnTo>
                      <a:lnTo>
                        <a:pt x="387" y="224"/>
                      </a:lnTo>
                      <a:lnTo>
                        <a:pt x="353" y="200"/>
                      </a:lnTo>
                      <a:lnTo>
                        <a:pt x="294" y="208"/>
                      </a:lnTo>
                      <a:lnTo>
                        <a:pt x="202" y="216"/>
                      </a:lnTo>
                      <a:lnTo>
                        <a:pt x="143" y="224"/>
                      </a:lnTo>
                      <a:lnTo>
                        <a:pt x="101" y="248"/>
                      </a:lnTo>
                      <a:lnTo>
                        <a:pt x="84" y="272"/>
                      </a:lnTo>
                      <a:lnTo>
                        <a:pt x="50" y="272"/>
                      </a:lnTo>
                      <a:lnTo>
                        <a:pt x="75" y="304"/>
                      </a:lnTo>
                      <a:lnTo>
                        <a:pt x="109" y="368"/>
                      </a:lnTo>
                      <a:lnTo>
                        <a:pt x="118" y="408"/>
                      </a:lnTo>
                      <a:lnTo>
                        <a:pt x="84" y="416"/>
                      </a:lnTo>
                      <a:lnTo>
                        <a:pt x="33" y="512"/>
                      </a:lnTo>
                      <a:lnTo>
                        <a:pt x="50" y="584"/>
                      </a:lnTo>
                      <a:lnTo>
                        <a:pt x="16" y="592"/>
                      </a:lnTo>
                      <a:lnTo>
                        <a:pt x="8" y="632"/>
                      </a:lnTo>
                      <a:lnTo>
                        <a:pt x="0" y="680"/>
                      </a:lnTo>
                      <a:lnTo>
                        <a:pt x="16" y="672"/>
                      </a:lnTo>
                      <a:lnTo>
                        <a:pt x="50" y="696"/>
                      </a:lnTo>
                      <a:lnTo>
                        <a:pt x="75" y="720"/>
                      </a:lnTo>
                      <a:lnTo>
                        <a:pt x="109" y="696"/>
                      </a:lnTo>
                      <a:lnTo>
                        <a:pt x="143" y="704"/>
                      </a:lnTo>
                      <a:lnTo>
                        <a:pt x="177" y="704"/>
                      </a:lnTo>
                      <a:lnTo>
                        <a:pt x="227" y="696"/>
                      </a:lnTo>
                      <a:lnTo>
                        <a:pt x="261" y="712"/>
                      </a:lnTo>
                      <a:lnTo>
                        <a:pt x="286" y="688"/>
                      </a:lnTo>
                      <a:lnTo>
                        <a:pt x="362" y="664"/>
                      </a:lnTo>
                      <a:lnTo>
                        <a:pt x="396" y="616"/>
                      </a:lnTo>
                      <a:lnTo>
                        <a:pt x="404" y="616"/>
                      </a:lnTo>
                      <a:lnTo>
                        <a:pt x="412" y="608"/>
                      </a:lnTo>
                      <a:lnTo>
                        <a:pt x="463" y="600"/>
                      </a:lnTo>
                      <a:lnTo>
                        <a:pt x="488" y="576"/>
                      </a:lnTo>
                      <a:lnTo>
                        <a:pt x="556" y="600"/>
                      </a:lnTo>
                      <a:lnTo>
                        <a:pt x="615" y="600"/>
                      </a:lnTo>
                      <a:lnTo>
                        <a:pt x="640" y="648"/>
                      </a:lnTo>
                      <a:lnTo>
                        <a:pt x="691" y="664"/>
                      </a:lnTo>
                      <a:lnTo>
                        <a:pt x="707" y="696"/>
                      </a:lnTo>
                      <a:lnTo>
                        <a:pt x="741" y="728"/>
                      </a:lnTo>
                      <a:lnTo>
                        <a:pt x="758" y="760"/>
                      </a:lnTo>
                      <a:lnTo>
                        <a:pt x="682" y="776"/>
                      </a:lnTo>
                      <a:lnTo>
                        <a:pt x="657" y="800"/>
                      </a:lnTo>
                      <a:lnTo>
                        <a:pt x="674" y="824"/>
                      </a:lnTo>
                      <a:lnTo>
                        <a:pt x="657" y="888"/>
                      </a:lnTo>
                      <a:lnTo>
                        <a:pt x="640" y="912"/>
                      </a:lnTo>
                      <a:lnTo>
                        <a:pt x="674" y="928"/>
                      </a:lnTo>
                      <a:lnTo>
                        <a:pt x="724" y="904"/>
                      </a:lnTo>
                      <a:lnTo>
                        <a:pt x="766" y="904"/>
                      </a:lnTo>
                      <a:lnTo>
                        <a:pt x="766" y="872"/>
                      </a:lnTo>
                      <a:lnTo>
                        <a:pt x="808" y="768"/>
                      </a:lnTo>
                      <a:lnTo>
                        <a:pt x="834" y="736"/>
                      </a:lnTo>
                      <a:lnTo>
                        <a:pt x="867" y="704"/>
                      </a:lnTo>
                      <a:lnTo>
                        <a:pt x="918" y="680"/>
                      </a:lnTo>
                      <a:lnTo>
                        <a:pt x="969" y="688"/>
                      </a:lnTo>
                      <a:lnTo>
                        <a:pt x="969" y="104"/>
                      </a:lnTo>
                      <a:lnTo>
                        <a:pt x="935" y="104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1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orma libre 152">
                  <a:extLst>
                    <a:ext uri="{FF2B5EF4-FFF2-40B4-BE49-F238E27FC236}">
                      <a16:creationId xmlns:a16="http://schemas.microsoft.com/office/drawing/2014/main" id="{DC9E833D-082F-E58E-6BB9-EB3F9521CCA8}"/>
                    </a:ext>
                  </a:extLst>
                </p:cNvPr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 rot="21146801">
                  <a:off x="8330607" y="3449741"/>
                  <a:ext cx="558225" cy="947853"/>
                </a:xfrm>
                <a:custGeom>
                  <a:avLst/>
                  <a:gdLst>
                    <a:gd name="connsiteX0" fmla="*/ 111095 w 558225"/>
                    <a:gd name="connsiteY0" fmla="*/ 0 h 947853"/>
                    <a:gd name="connsiteX1" fmla="*/ 145622 w 558225"/>
                    <a:gd name="connsiteY1" fmla="*/ 112061 h 947853"/>
                    <a:gd name="connsiteX2" fmla="*/ 190508 w 558225"/>
                    <a:gd name="connsiteY2" fmla="*/ 98054 h 947853"/>
                    <a:gd name="connsiteX3" fmla="*/ 238846 w 558225"/>
                    <a:gd name="connsiteY3" fmla="*/ 142411 h 947853"/>
                    <a:gd name="connsiteX4" fmla="*/ 295817 w 558225"/>
                    <a:gd name="connsiteY4" fmla="*/ 112061 h 947853"/>
                    <a:gd name="connsiteX5" fmla="*/ 352787 w 558225"/>
                    <a:gd name="connsiteY5" fmla="*/ 170427 h 947853"/>
                    <a:gd name="connsiteX6" fmla="*/ 420115 w 558225"/>
                    <a:gd name="connsiteY6" fmla="*/ 170427 h 947853"/>
                    <a:gd name="connsiteX7" fmla="*/ 490897 w 558225"/>
                    <a:gd name="connsiteY7" fmla="*/ 214784 h 947853"/>
                    <a:gd name="connsiteX8" fmla="*/ 558225 w 558225"/>
                    <a:gd name="connsiteY8" fmla="*/ 242800 h 947853"/>
                    <a:gd name="connsiteX9" fmla="*/ 547867 w 558225"/>
                    <a:gd name="connsiteY9" fmla="*/ 315173 h 947853"/>
                    <a:gd name="connsiteX10" fmla="*/ 535783 w 558225"/>
                    <a:gd name="connsiteY10" fmla="*/ 401553 h 947853"/>
                    <a:gd name="connsiteX11" fmla="*/ 558225 w 558225"/>
                    <a:gd name="connsiteY11" fmla="*/ 457584 h 947853"/>
                    <a:gd name="connsiteX12" fmla="*/ 501255 w 558225"/>
                    <a:gd name="connsiteY12" fmla="*/ 457584 h 947853"/>
                    <a:gd name="connsiteX13" fmla="*/ 432200 w 558225"/>
                    <a:gd name="connsiteY13" fmla="*/ 487934 h 947853"/>
                    <a:gd name="connsiteX14" fmla="*/ 420115 w 558225"/>
                    <a:gd name="connsiteY14" fmla="*/ 560307 h 947853"/>
                    <a:gd name="connsiteX15" fmla="*/ 385588 w 558225"/>
                    <a:gd name="connsiteY15" fmla="*/ 574315 h 947853"/>
                    <a:gd name="connsiteX16" fmla="*/ 345881 w 558225"/>
                    <a:gd name="connsiteY16" fmla="*/ 583653 h 947853"/>
                    <a:gd name="connsiteX17" fmla="*/ 306175 w 558225"/>
                    <a:gd name="connsiteY17" fmla="*/ 595326 h 947853"/>
                    <a:gd name="connsiteX18" fmla="*/ 268194 w 558225"/>
                    <a:gd name="connsiteY18" fmla="*/ 609334 h 947853"/>
                    <a:gd name="connsiteX19" fmla="*/ 231941 w 558225"/>
                    <a:gd name="connsiteY19" fmla="*/ 623342 h 947853"/>
                    <a:gd name="connsiteX20" fmla="*/ 218130 w 558225"/>
                    <a:gd name="connsiteY20" fmla="*/ 632680 h 947853"/>
                    <a:gd name="connsiteX21" fmla="*/ 202592 w 558225"/>
                    <a:gd name="connsiteY21" fmla="*/ 639684 h 947853"/>
                    <a:gd name="connsiteX22" fmla="*/ 188781 w 558225"/>
                    <a:gd name="connsiteY22" fmla="*/ 653692 h 947853"/>
                    <a:gd name="connsiteX23" fmla="*/ 176697 w 558225"/>
                    <a:gd name="connsiteY23" fmla="*/ 663030 h 947853"/>
                    <a:gd name="connsiteX24" fmla="*/ 169792 w 558225"/>
                    <a:gd name="connsiteY24" fmla="*/ 674703 h 947853"/>
                    <a:gd name="connsiteX25" fmla="*/ 162886 w 558225"/>
                    <a:gd name="connsiteY25" fmla="*/ 688711 h 947853"/>
                    <a:gd name="connsiteX26" fmla="*/ 159433 w 558225"/>
                    <a:gd name="connsiteY26" fmla="*/ 702719 h 947853"/>
                    <a:gd name="connsiteX27" fmla="*/ 155981 w 558225"/>
                    <a:gd name="connsiteY27" fmla="*/ 716726 h 947853"/>
                    <a:gd name="connsiteX28" fmla="*/ 159433 w 558225"/>
                    <a:gd name="connsiteY28" fmla="*/ 728399 h 947853"/>
                    <a:gd name="connsiteX29" fmla="*/ 161160 w 558225"/>
                    <a:gd name="connsiteY29" fmla="*/ 740072 h 947853"/>
                    <a:gd name="connsiteX30" fmla="*/ 166339 w 558225"/>
                    <a:gd name="connsiteY30" fmla="*/ 751745 h 947853"/>
                    <a:gd name="connsiteX31" fmla="*/ 171518 w 558225"/>
                    <a:gd name="connsiteY31" fmla="*/ 763418 h 947853"/>
                    <a:gd name="connsiteX32" fmla="*/ 176697 w 558225"/>
                    <a:gd name="connsiteY32" fmla="*/ 775091 h 947853"/>
                    <a:gd name="connsiteX33" fmla="*/ 185329 w 558225"/>
                    <a:gd name="connsiteY33" fmla="*/ 784430 h 947853"/>
                    <a:gd name="connsiteX34" fmla="*/ 193961 w 558225"/>
                    <a:gd name="connsiteY34" fmla="*/ 789099 h 947853"/>
                    <a:gd name="connsiteX35" fmla="*/ 202592 w 558225"/>
                    <a:gd name="connsiteY35" fmla="*/ 791434 h 947853"/>
                    <a:gd name="connsiteX36" fmla="*/ 238846 w 558225"/>
                    <a:gd name="connsiteY36" fmla="*/ 786765 h 947853"/>
                    <a:gd name="connsiteX37" fmla="*/ 271648 w 558225"/>
                    <a:gd name="connsiteY37" fmla="*/ 777426 h 947853"/>
                    <a:gd name="connsiteX38" fmla="*/ 288911 w 558225"/>
                    <a:gd name="connsiteY38" fmla="*/ 775091 h 947853"/>
                    <a:gd name="connsiteX39" fmla="*/ 306175 w 558225"/>
                    <a:gd name="connsiteY39" fmla="*/ 772757 h 947853"/>
                    <a:gd name="connsiteX40" fmla="*/ 323439 w 558225"/>
                    <a:gd name="connsiteY40" fmla="*/ 772757 h 947853"/>
                    <a:gd name="connsiteX41" fmla="*/ 340702 w 558225"/>
                    <a:gd name="connsiteY41" fmla="*/ 777426 h 947853"/>
                    <a:gd name="connsiteX42" fmla="*/ 325165 w 558225"/>
                    <a:gd name="connsiteY42" fmla="*/ 784430 h 947853"/>
                    <a:gd name="connsiteX43" fmla="*/ 311354 w 558225"/>
                    <a:gd name="connsiteY43" fmla="*/ 793769 h 947853"/>
                    <a:gd name="connsiteX44" fmla="*/ 300996 w 558225"/>
                    <a:gd name="connsiteY44" fmla="*/ 805442 h 947853"/>
                    <a:gd name="connsiteX45" fmla="*/ 288912 w 558225"/>
                    <a:gd name="connsiteY45" fmla="*/ 819449 h 947853"/>
                    <a:gd name="connsiteX46" fmla="*/ 280279 w 558225"/>
                    <a:gd name="connsiteY46" fmla="*/ 835791 h 947853"/>
                    <a:gd name="connsiteX47" fmla="*/ 269921 w 558225"/>
                    <a:gd name="connsiteY47" fmla="*/ 849799 h 947853"/>
                    <a:gd name="connsiteX48" fmla="*/ 261289 w 558225"/>
                    <a:gd name="connsiteY48" fmla="*/ 863807 h 947853"/>
                    <a:gd name="connsiteX49" fmla="*/ 249205 w 558225"/>
                    <a:gd name="connsiteY49" fmla="*/ 875480 h 947853"/>
                    <a:gd name="connsiteX50" fmla="*/ 244026 w 558225"/>
                    <a:gd name="connsiteY50" fmla="*/ 856803 h 947853"/>
                    <a:gd name="connsiteX51" fmla="*/ 240572 w 558225"/>
                    <a:gd name="connsiteY51" fmla="*/ 842795 h 947853"/>
                    <a:gd name="connsiteX52" fmla="*/ 233667 w 558225"/>
                    <a:gd name="connsiteY52" fmla="*/ 831122 h 947853"/>
                    <a:gd name="connsiteX53" fmla="*/ 230214 w 558225"/>
                    <a:gd name="connsiteY53" fmla="*/ 824119 h 947853"/>
                    <a:gd name="connsiteX54" fmla="*/ 218130 w 558225"/>
                    <a:gd name="connsiteY54" fmla="*/ 814780 h 947853"/>
                    <a:gd name="connsiteX55" fmla="*/ 202593 w 558225"/>
                    <a:gd name="connsiteY55" fmla="*/ 805442 h 947853"/>
                    <a:gd name="connsiteX56" fmla="*/ 202592 w 558225"/>
                    <a:gd name="connsiteY56" fmla="*/ 817115 h 947853"/>
                    <a:gd name="connsiteX57" fmla="*/ 199140 w 558225"/>
                    <a:gd name="connsiteY57" fmla="*/ 828788 h 947853"/>
                    <a:gd name="connsiteX58" fmla="*/ 193961 w 558225"/>
                    <a:gd name="connsiteY58" fmla="*/ 840461 h 947853"/>
                    <a:gd name="connsiteX59" fmla="*/ 188781 w 558225"/>
                    <a:gd name="connsiteY59" fmla="*/ 849799 h 947853"/>
                    <a:gd name="connsiteX60" fmla="*/ 173244 w 558225"/>
                    <a:gd name="connsiteY60" fmla="*/ 868476 h 947853"/>
                    <a:gd name="connsiteX61" fmla="*/ 154254 w 558225"/>
                    <a:gd name="connsiteY61" fmla="*/ 884819 h 947853"/>
                    <a:gd name="connsiteX62" fmla="*/ 136991 w 558225"/>
                    <a:gd name="connsiteY62" fmla="*/ 903495 h 947853"/>
                    <a:gd name="connsiteX63" fmla="*/ 121453 w 558225"/>
                    <a:gd name="connsiteY63" fmla="*/ 917503 h 947853"/>
                    <a:gd name="connsiteX64" fmla="*/ 112821 w 558225"/>
                    <a:gd name="connsiteY64" fmla="*/ 926841 h 947853"/>
                    <a:gd name="connsiteX65" fmla="*/ 107642 w 558225"/>
                    <a:gd name="connsiteY65" fmla="*/ 933845 h 947853"/>
                    <a:gd name="connsiteX66" fmla="*/ 102463 w 558225"/>
                    <a:gd name="connsiteY66" fmla="*/ 940849 h 947853"/>
                    <a:gd name="connsiteX67" fmla="*/ 99010 w 558225"/>
                    <a:gd name="connsiteY67" fmla="*/ 947853 h 947853"/>
                    <a:gd name="connsiteX68" fmla="*/ 88652 w 558225"/>
                    <a:gd name="connsiteY68" fmla="*/ 945518 h 947853"/>
                    <a:gd name="connsiteX69" fmla="*/ 80020 w 558225"/>
                    <a:gd name="connsiteY69" fmla="*/ 940849 h 947853"/>
                    <a:gd name="connsiteX70" fmla="*/ 71388 w 558225"/>
                    <a:gd name="connsiteY70" fmla="*/ 936180 h 947853"/>
                    <a:gd name="connsiteX71" fmla="*/ 64483 w 558225"/>
                    <a:gd name="connsiteY71" fmla="*/ 929176 h 947853"/>
                    <a:gd name="connsiteX72" fmla="*/ 57578 w 558225"/>
                    <a:gd name="connsiteY72" fmla="*/ 924507 h 947853"/>
                    <a:gd name="connsiteX73" fmla="*/ 52398 w 558225"/>
                    <a:gd name="connsiteY73" fmla="*/ 915169 h 947853"/>
                    <a:gd name="connsiteX74" fmla="*/ 48946 w 558225"/>
                    <a:gd name="connsiteY74" fmla="*/ 908164 h 947853"/>
                    <a:gd name="connsiteX75" fmla="*/ 43766 w 558225"/>
                    <a:gd name="connsiteY75" fmla="*/ 896491 h 947853"/>
                    <a:gd name="connsiteX76" fmla="*/ 36860 w 558225"/>
                    <a:gd name="connsiteY76" fmla="*/ 877815 h 947853"/>
                    <a:gd name="connsiteX77" fmla="*/ 33408 w 558225"/>
                    <a:gd name="connsiteY77" fmla="*/ 854469 h 947853"/>
                    <a:gd name="connsiteX78" fmla="*/ 31682 w 558225"/>
                    <a:gd name="connsiteY78" fmla="*/ 831122 h 947853"/>
                    <a:gd name="connsiteX79" fmla="*/ 31682 w 558225"/>
                    <a:gd name="connsiteY79" fmla="*/ 805442 h 947853"/>
                    <a:gd name="connsiteX80" fmla="*/ 16144 w 558225"/>
                    <a:gd name="connsiteY80" fmla="*/ 803107 h 947853"/>
                    <a:gd name="connsiteX81" fmla="*/ 2333 w 558225"/>
                    <a:gd name="connsiteY81" fmla="*/ 800772 h 947853"/>
                    <a:gd name="connsiteX82" fmla="*/ 0 w 558225"/>
                    <a:gd name="connsiteY82" fmla="*/ 799871 h 947853"/>
                    <a:gd name="connsiteX83" fmla="*/ 8208 w 558225"/>
                    <a:gd name="connsiteY83" fmla="*/ 737970 h 947853"/>
                    <a:gd name="connsiteX84" fmla="*/ 9239 w 558225"/>
                    <a:gd name="connsiteY84" fmla="*/ 737738 h 947853"/>
                    <a:gd name="connsiteX85" fmla="*/ 31682 w 558225"/>
                    <a:gd name="connsiteY85" fmla="*/ 733068 h 947853"/>
                    <a:gd name="connsiteX86" fmla="*/ 74841 w 558225"/>
                    <a:gd name="connsiteY86" fmla="*/ 726065 h 947853"/>
                    <a:gd name="connsiteX87" fmla="*/ 123179 w 558225"/>
                    <a:gd name="connsiteY87" fmla="*/ 716726 h 947853"/>
                    <a:gd name="connsiteX88" fmla="*/ 11025 w 558225"/>
                    <a:gd name="connsiteY88" fmla="*/ 716726 h 947853"/>
                    <a:gd name="connsiteX89" fmla="*/ 106063 w 558225"/>
                    <a:gd name="connsiteY89" fmla="*/ 0 h 947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</a:cxnLst>
                  <a:rect l="l" t="t" r="r" b="b"/>
                  <a:pathLst>
                    <a:path w="558225" h="947853">
                      <a:moveTo>
                        <a:pt x="111095" y="0"/>
                      </a:moveTo>
                      <a:lnTo>
                        <a:pt x="145622" y="112061"/>
                      </a:lnTo>
                      <a:lnTo>
                        <a:pt x="190508" y="98054"/>
                      </a:lnTo>
                      <a:lnTo>
                        <a:pt x="238846" y="142411"/>
                      </a:lnTo>
                      <a:lnTo>
                        <a:pt x="295817" y="112061"/>
                      </a:lnTo>
                      <a:lnTo>
                        <a:pt x="352787" y="170427"/>
                      </a:lnTo>
                      <a:lnTo>
                        <a:pt x="420115" y="170427"/>
                      </a:lnTo>
                      <a:lnTo>
                        <a:pt x="490897" y="214784"/>
                      </a:lnTo>
                      <a:lnTo>
                        <a:pt x="558225" y="242800"/>
                      </a:lnTo>
                      <a:lnTo>
                        <a:pt x="547867" y="315173"/>
                      </a:lnTo>
                      <a:lnTo>
                        <a:pt x="535783" y="401553"/>
                      </a:lnTo>
                      <a:lnTo>
                        <a:pt x="558225" y="457584"/>
                      </a:lnTo>
                      <a:lnTo>
                        <a:pt x="501255" y="457584"/>
                      </a:lnTo>
                      <a:lnTo>
                        <a:pt x="432200" y="487934"/>
                      </a:lnTo>
                      <a:lnTo>
                        <a:pt x="420115" y="560307"/>
                      </a:lnTo>
                      <a:lnTo>
                        <a:pt x="385588" y="574315"/>
                      </a:lnTo>
                      <a:lnTo>
                        <a:pt x="345881" y="583653"/>
                      </a:lnTo>
                      <a:lnTo>
                        <a:pt x="306175" y="595326"/>
                      </a:lnTo>
                      <a:lnTo>
                        <a:pt x="268194" y="609334"/>
                      </a:lnTo>
                      <a:lnTo>
                        <a:pt x="231941" y="623342"/>
                      </a:lnTo>
                      <a:lnTo>
                        <a:pt x="218130" y="632680"/>
                      </a:lnTo>
                      <a:lnTo>
                        <a:pt x="202592" y="639684"/>
                      </a:lnTo>
                      <a:lnTo>
                        <a:pt x="188781" y="653692"/>
                      </a:lnTo>
                      <a:lnTo>
                        <a:pt x="176697" y="663030"/>
                      </a:lnTo>
                      <a:lnTo>
                        <a:pt x="169792" y="674703"/>
                      </a:lnTo>
                      <a:lnTo>
                        <a:pt x="162886" y="688711"/>
                      </a:lnTo>
                      <a:lnTo>
                        <a:pt x="159433" y="702719"/>
                      </a:lnTo>
                      <a:lnTo>
                        <a:pt x="155981" y="716726"/>
                      </a:lnTo>
                      <a:lnTo>
                        <a:pt x="159433" y="728399"/>
                      </a:lnTo>
                      <a:lnTo>
                        <a:pt x="161160" y="740072"/>
                      </a:lnTo>
                      <a:lnTo>
                        <a:pt x="166339" y="751745"/>
                      </a:lnTo>
                      <a:lnTo>
                        <a:pt x="171518" y="763418"/>
                      </a:lnTo>
                      <a:lnTo>
                        <a:pt x="176697" y="775091"/>
                      </a:lnTo>
                      <a:lnTo>
                        <a:pt x="185329" y="784430"/>
                      </a:lnTo>
                      <a:lnTo>
                        <a:pt x="193961" y="789099"/>
                      </a:lnTo>
                      <a:lnTo>
                        <a:pt x="202592" y="791434"/>
                      </a:lnTo>
                      <a:lnTo>
                        <a:pt x="238846" y="786765"/>
                      </a:lnTo>
                      <a:lnTo>
                        <a:pt x="271648" y="777426"/>
                      </a:lnTo>
                      <a:lnTo>
                        <a:pt x="288911" y="775091"/>
                      </a:lnTo>
                      <a:lnTo>
                        <a:pt x="306175" y="772757"/>
                      </a:lnTo>
                      <a:lnTo>
                        <a:pt x="323439" y="772757"/>
                      </a:lnTo>
                      <a:lnTo>
                        <a:pt x="340702" y="777426"/>
                      </a:lnTo>
                      <a:lnTo>
                        <a:pt x="325165" y="784430"/>
                      </a:lnTo>
                      <a:lnTo>
                        <a:pt x="311354" y="793769"/>
                      </a:lnTo>
                      <a:lnTo>
                        <a:pt x="300996" y="805442"/>
                      </a:lnTo>
                      <a:lnTo>
                        <a:pt x="288912" y="819449"/>
                      </a:lnTo>
                      <a:lnTo>
                        <a:pt x="280279" y="835791"/>
                      </a:lnTo>
                      <a:lnTo>
                        <a:pt x="269921" y="849799"/>
                      </a:lnTo>
                      <a:lnTo>
                        <a:pt x="261289" y="863807"/>
                      </a:lnTo>
                      <a:lnTo>
                        <a:pt x="249205" y="875480"/>
                      </a:lnTo>
                      <a:lnTo>
                        <a:pt x="244026" y="856803"/>
                      </a:lnTo>
                      <a:lnTo>
                        <a:pt x="240572" y="842795"/>
                      </a:lnTo>
                      <a:lnTo>
                        <a:pt x="233667" y="831122"/>
                      </a:lnTo>
                      <a:lnTo>
                        <a:pt x="230214" y="824119"/>
                      </a:lnTo>
                      <a:lnTo>
                        <a:pt x="218130" y="814780"/>
                      </a:lnTo>
                      <a:lnTo>
                        <a:pt x="202593" y="805442"/>
                      </a:lnTo>
                      <a:lnTo>
                        <a:pt x="202592" y="817115"/>
                      </a:lnTo>
                      <a:lnTo>
                        <a:pt x="199140" y="828788"/>
                      </a:lnTo>
                      <a:lnTo>
                        <a:pt x="193961" y="840461"/>
                      </a:lnTo>
                      <a:lnTo>
                        <a:pt x="188781" y="849799"/>
                      </a:lnTo>
                      <a:lnTo>
                        <a:pt x="173244" y="868476"/>
                      </a:lnTo>
                      <a:lnTo>
                        <a:pt x="154254" y="884819"/>
                      </a:lnTo>
                      <a:lnTo>
                        <a:pt x="136991" y="903495"/>
                      </a:lnTo>
                      <a:lnTo>
                        <a:pt x="121453" y="917503"/>
                      </a:lnTo>
                      <a:lnTo>
                        <a:pt x="112821" y="926841"/>
                      </a:lnTo>
                      <a:lnTo>
                        <a:pt x="107642" y="933845"/>
                      </a:lnTo>
                      <a:lnTo>
                        <a:pt x="102463" y="940849"/>
                      </a:lnTo>
                      <a:lnTo>
                        <a:pt x="99010" y="947853"/>
                      </a:lnTo>
                      <a:lnTo>
                        <a:pt x="88652" y="945518"/>
                      </a:lnTo>
                      <a:lnTo>
                        <a:pt x="80020" y="940849"/>
                      </a:lnTo>
                      <a:lnTo>
                        <a:pt x="71388" y="936180"/>
                      </a:lnTo>
                      <a:lnTo>
                        <a:pt x="64483" y="929176"/>
                      </a:lnTo>
                      <a:lnTo>
                        <a:pt x="57578" y="924507"/>
                      </a:lnTo>
                      <a:lnTo>
                        <a:pt x="52398" y="915169"/>
                      </a:lnTo>
                      <a:lnTo>
                        <a:pt x="48946" y="908164"/>
                      </a:lnTo>
                      <a:lnTo>
                        <a:pt x="43766" y="896491"/>
                      </a:lnTo>
                      <a:lnTo>
                        <a:pt x="36860" y="877815"/>
                      </a:lnTo>
                      <a:lnTo>
                        <a:pt x="33408" y="854469"/>
                      </a:lnTo>
                      <a:lnTo>
                        <a:pt x="31682" y="831122"/>
                      </a:lnTo>
                      <a:lnTo>
                        <a:pt x="31682" y="805442"/>
                      </a:lnTo>
                      <a:lnTo>
                        <a:pt x="16144" y="803107"/>
                      </a:lnTo>
                      <a:lnTo>
                        <a:pt x="2333" y="800772"/>
                      </a:lnTo>
                      <a:lnTo>
                        <a:pt x="0" y="799871"/>
                      </a:lnTo>
                      <a:lnTo>
                        <a:pt x="8208" y="737970"/>
                      </a:lnTo>
                      <a:lnTo>
                        <a:pt x="9239" y="737738"/>
                      </a:lnTo>
                      <a:lnTo>
                        <a:pt x="31682" y="733068"/>
                      </a:lnTo>
                      <a:lnTo>
                        <a:pt x="74841" y="726065"/>
                      </a:lnTo>
                      <a:lnTo>
                        <a:pt x="123179" y="716726"/>
                      </a:lnTo>
                      <a:lnTo>
                        <a:pt x="11025" y="716726"/>
                      </a:lnTo>
                      <a:lnTo>
                        <a:pt x="106063" y="0"/>
                      </a:lnTo>
                      <a:close/>
                    </a:path>
                  </a:pathLst>
                </a:custGeom>
                <a:grpFill/>
                <a:ln w="12700" cap="flat" cmpd="sng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square">
                  <a:noAutofit/>
                </a:bodyPr>
                <a:lstStyle/>
                <a:p>
                  <a:pPr marL="0" marR="0" lvl="0" indent="0" defTabSz="7132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1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19" name="Rectángulo 131">
                  <a:extLst>
                    <a:ext uri="{FF2B5EF4-FFF2-40B4-BE49-F238E27FC236}">
                      <a16:creationId xmlns:a16="http://schemas.microsoft.com/office/drawing/2014/main" id="{A57685F3-A430-DCCD-C5B9-90923A2D3DBB}"/>
                    </a:ext>
                  </a:extLst>
                </p:cNvPr>
                <p:cNvSpPr/>
                <p:nvPr/>
              </p:nvSpPr>
              <p:spPr>
                <a:xfrm>
                  <a:off x="8050422" y="3537398"/>
                  <a:ext cx="341644" cy="362266"/>
                </a:xfrm>
                <a:prstGeom prst="rect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7132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1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ángulo 132">
                  <a:extLst>
                    <a:ext uri="{FF2B5EF4-FFF2-40B4-BE49-F238E27FC236}">
                      <a16:creationId xmlns:a16="http://schemas.microsoft.com/office/drawing/2014/main" id="{446F471F-0FF1-BD7B-68D9-50D8E8777086}"/>
                    </a:ext>
                  </a:extLst>
                </p:cNvPr>
                <p:cNvSpPr/>
                <p:nvPr/>
              </p:nvSpPr>
              <p:spPr>
                <a:xfrm>
                  <a:off x="8117900" y="3770950"/>
                  <a:ext cx="341644" cy="362266"/>
                </a:xfrm>
                <a:prstGeom prst="rect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7132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1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5" name="Freeform 66">
                <a:extLst>
                  <a:ext uri="{FF2B5EF4-FFF2-40B4-BE49-F238E27FC236}">
                    <a16:creationId xmlns:a16="http://schemas.microsoft.com/office/drawing/2014/main" id="{2BCB32B3-AE2A-A718-5FE1-CA0987ED37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9062" y="5005712"/>
                <a:ext cx="618714" cy="711945"/>
              </a:xfrm>
              <a:custGeom>
                <a:avLst/>
                <a:gdLst>
                  <a:gd name="T0" fmla="*/ 200025 w 695325"/>
                  <a:gd name="T1" fmla="*/ 0 h 800100"/>
                  <a:gd name="T2" fmla="*/ 227013 w 695325"/>
                  <a:gd name="T3" fmla="*/ 25400 h 800100"/>
                  <a:gd name="T4" fmla="*/ 280988 w 695325"/>
                  <a:gd name="T5" fmla="*/ 63500 h 800100"/>
                  <a:gd name="T6" fmla="*/ 293688 w 695325"/>
                  <a:gd name="T7" fmla="*/ 101600 h 800100"/>
                  <a:gd name="T8" fmla="*/ 347663 w 695325"/>
                  <a:gd name="T9" fmla="*/ 139700 h 800100"/>
                  <a:gd name="T10" fmla="*/ 414338 w 695325"/>
                  <a:gd name="T11" fmla="*/ 165100 h 800100"/>
                  <a:gd name="T12" fmla="*/ 387350 w 695325"/>
                  <a:gd name="T13" fmla="*/ 215900 h 800100"/>
                  <a:gd name="T14" fmla="*/ 454025 w 695325"/>
                  <a:gd name="T15" fmla="*/ 228600 h 800100"/>
                  <a:gd name="T16" fmla="*/ 520700 w 695325"/>
                  <a:gd name="T17" fmla="*/ 254000 h 800100"/>
                  <a:gd name="T18" fmla="*/ 587375 w 695325"/>
                  <a:gd name="T19" fmla="*/ 215900 h 800100"/>
                  <a:gd name="T20" fmla="*/ 587375 w 695325"/>
                  <a:gd name="T21" fmla="*/ 279400 h 800100"/>
                  <a:gd name="T22" fmla="*/ 614363 w 695325"/>
                  <a:gd name="T23" fmla="*/ 292100 h 800100"/>
                  <a:gd name="T24" fmla="*/ 587375 w 695325"/>
                  <a:gd name="T25" fmla="*/ 342900 h 800100"/>
                  <a:gd name="T26" fmla="*/ 601663 w 695325"/>
                  <a:gd name="T27" fmla="*/ 393700 h 800100"/>
                  <a:gd name="T28" fmla="*/ 628650 w 695325"/>
                  <a:gd name="T29" fmla="*/ 444500 h 800100"/>
                  <a:gd name="T30" fmla="*/ 695325 w 695325"/>
                  <a:gd name="T31" fmla="*/ 495300 h 800100"/>
                  <a:gd name="T32" fmla="*/ 668338 w 695325"/>
                  <a:gd name="T33" fmla="*/ 558800 h 800100"/>
                  <a:gd name="T34" fmla="*/ 641350 w 695325"/>
                  <a:gd name="T35" fmla="*/ 571500 h 800100"/>
                  <a:gd name="T36" fmla="*/ 641350 w 695325"/>
                  <a:gd name="T37" fmla="*/ 622300 h 800100"/>
                  <a:gd name="T38" fmla="*/ 668338 w 695325"/>
                  <a:gd name="T39" fmla="*/ 635000 h 800100"/>
                  <a:gd name="T40" fmla="*/ 655638 w 695325"/>
                  <a:gd name="T41" fmla="*/ 685800 h 800100"/>
                  <a:gd name="T42" fmla="*/ 587375 w 695325"/>
                  <a:gd name="T43" fmla="*/ 685800 h 800100"/>
                  <a:gd name="T44" fmla="*/ 493713 w 695325"/>
                  <a:gd name="T45" fmla="*/ 723900 h 800100"/>
                  <a:gd name="T46" fmla="*/ 454025 w 695325"/>
                  <a:gd name="T47" fmla="*/ 736600 h 800100"/>
                  <a:gd name="T48" fmla="*/ 414338 w 695325"/>
                  <a:gd name="T49" fmla="*/ 749300 h 800100"/>
                  <a:gd name="T50" fmla="*/ 400050 w 695325"/>
                  <a:gd name="T51" fmla="*/ 800100 h 800100"/>
                  <a:gd name="T52" fmla="*/ 374650 w 695325"/>
                  <a:gd name="T53" fmla="*/ 787400 h 800100"/>
                  <a:gd name="T54" fmla="*/ 320675 w 695325"/>
                  <a:gd name="T55" fmla="*/ 723900 h 800100"/>
                  <a:gd name="T56" fmla="*/ 293688 w 695325"/>
                  <a:gd name="T57" fmla="*/ 698500 h 800100"/>
                  <a:gd name="T58" fmla="*/ 254000 w 695325"/>
                  <a:gd name="T59" fmla="*/ 698500 h 800100"/>
                  <a:gd name="T60" fmla="*/ 229765 w 695325"/>
                  <a:gd name="T61" fmla="*/ 687096 h 800100"/>
                  <a:gd name="T62" fmla="*/ 229765 w 695325"/>
                  <a:gd name="T63" fmla="*/ 683033 h 800100"/>
                  <a:gd name="T64" fmla="*/ 252752 w 695325"/>
                  <a:gd name="T65" fmla="*/ 693850 h 800100"/>
                  <a:gd name="T66" fmla="*/ 259362 w 695325"/>
                  <a:gd name="T67" fmla="*/ 657060 h 800100"/>
                  <a:gd name="T68" fmla="*/ 175691 w 695325"/>
                  <a:gd name="T69" fmla="*/ 575024 h 800100"/>
                  <a:gd name="T70" fmla="*/ 95219 w 695325"/>
                  <a:gd name="T71" fmla="*/ 543800 h 800100"/>
                  <a:gd name="T72" fmla="*/ 100534 w 695325"/>
                  <a:gd name="T73" fmla="*/ 557971 h 800100"/>
                  <a:gd name="T74" fmla="*/ 93352 w 695325"/>
                  <a:gd name="T75" fmla="*/ 557971 h 800100"/>
                  <a:gd name="T76" fmla="*/ 85749 w 695325"/>
                  <a:gd name="T77" fmla="*/ 537697 h 800100"/>
                  <a:gd name="T78" fmla="*/ 85749 w 695325"/>
                  <a:gd name="T79" fmla="*/ 521816 h 800100"/>
                  <a:gd name="T80" fmla="*/ 79794 w 695325"/>
                  <a:gd name="T81" fmla="*/ 521816 h 800100"/>
                  <a:gd name="T82" fmla="*/ 79375 w 695325"/>
                  <a:gd name="T83" fmla="*/ 520700 h 800100"/>
                  <a:gd name="T84" fmla="*/ 160338 w 695325"/>
                  <a:gd name="T85" fmla="*/ 495300 h 800100"/>
                  <a:gd name="T86" fmla="*/ 119063 w 695325"/>
                  <a:gd name="T87" fmla="*/ 431800 h 800100"/>
                  <a:gd name="T88" fmla="*/ 160338 w 695325"/>
                  <a:gd name="T89" fmla="*/ 406400 h 800100"/>
                  <a:gd name="T90" fmla="*/ 93663 w 695325"/>
                  <a:gd name="T91" fmla="*/ 368300 h 800100"/>
                  <a:gd name="T92" fmla="*/ 79375 w 695325"/>
                  <a:gd name="T93" fmla="*/ 317500 h 800100"/>
                  <a:gd name="T94" fmla="*/ 79375 w 695325"/>
                  <a:gd name="T95" fmla="*/ 266700 h 800100"/>
                  <a:gd name="T96" fmla="*/ 26988 w 695325"/>
                  <a:gd name="T97" fmla="*/ 266700 h 800100"/>
                  <a:gd name="T98" fmla="*/ 12700 w 695325"/>
                  <a:gd name="T99" fmla="*/ 241300 h 800100"/>
                  <a:gd name="T100" fmla="*/ 52388 w 695325"/>
                  <a:gd name="T101" fmla="*/ 254000 h 800100"/>
                  <a:gd name="T102" fmla="*/ 52388 w 695325"/>
                  <a:gd name="T103" fmla="*/ 203200 h 800100"/>
                  <a:gd name="T104" fmla="*/ 93663 w 695325"/>
                  <a:gd name="T105" fmla="*/ 190500 h 800100"/>
                  <a:gd name="T106" fmla="*/ 52388 w 695325"/>
                  <a:gd name="T107" fmla="*/ 177800 h 800100"/>
                  <a:gd name="T108" fmla="*/ 12700 w 695325"/>
                  <a:gd name="T109" fmla="*/ 127000 h 800100"/>
                  <a:gd name="T110" fmla="*/ 0 w 695325"/>
                  <a:gd name="T111" fmla="*/ 76200 h 800100"/>
                  <a:gd name="T112" fmla="*/ 12700 w 695325"/>
                  <a:gd name="T113" fmla="*/ 38100 h 800100"/>
                  <a:gd name="T114" fmla="*/ 52388 w 695325"/>
                  <a:gd name="T115" fmla="*/ 38100 h 800100"/>
                  <a:gd name="T116" fmla="*/ 106363 w 695325"/>
                  <a:gd name="T117" fmla="*/ 12700 h 800100"/>
                  <a:gd name="T118" fmla="*/ 187325 w 695325"/>
                  <a:gd name="T119" fmla="*/ 12700 h 800100"/>
                  <a:gd name="T120" fmla="*/ 200025 w 695325"/>
                  <a:gd name="T121" fmla="*/ 0 h 800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5325" h="800100">
                    <a:moveTo>
                      <a:pt x="200025" y="0"/>
                    </a:moveTo>
                    <a:lnTo>
                      <a:pt x="227013" y="25400"/>
                    </a:lnTo>
                    <a:lnTo>
                      <a:pt x="280988" y="63500"/>
                    </a:lnTo>
                    <a:lnTo>
                      <a:pt x="293688" y="101600"/>
                    </a:lnTo>
                    <a:lnTo>
                      <a:pt x="347663" y="139700"/>
                    </a:lnTo>
                    <a:lnTo>
                      <a:pt x="414338" y="165100"/>
                    </a:lnTo>
                    <a:lnTo>
                      <a:pt x="387350" y="215900"/>
                    </a:lnTo>
                    <a:lnTo>
                      <a:pt x="454025" y="228600"/>
                    </a:lnTo>
                    <a:lnTo>
                      <a:pt x="520700" y="254000"/>
                    </a:lnTo>
                    <a:lnTo>
                      <a:pt x="587375" y="215900"/>
                    </a:lnTo>
                    <a:lnTo>
                      <a:pt x="587375" y="279400"/>
                    </a:lnTo>
                    <a:lnTo>
                      <a:pt x="614363" y="292100"/>
                    </a:lnTo>
                    <a:lnTo>
                      <a:pt x="587375" y="342900"/>
                    </a:lnTo>
                    <a:lnTo>
                      <a:pt x="601663" y="393700"/>
                    </a:lnTo>
                    <a:lnTo>
                      <a:pt x="628650" y="444500"/>
                    </a:lnTo>
                    <a:lnTo>
                      <a:pt x="695325" y="495300"/>
                    </a:lnTo>
                    <a:lnTo>
                      <a:pt x="668338" y="558800"/>
                    </a:lnTo>
                    <a:lnTo>
                      <a:pt x="641350" y="571500"/>
                    </a:lnTo>
                    <a:lnTo>
                      <a:pt x="641350" y="622300"/>
                    </a:lnTo>
                    <a:lnTo>
                      <a:pt x="668338" y="635000"/>
                    </a:lnTo>
                    <a:lnTo>
                      <a:pt x="655638" y="685800"/>
                    </a:lnTo>
                    <a:lnTo>
                      <a:pt x="587375" y="685800"/>
                    </a:lnTo>
                    <a:lnTo>
                      <a:pt x="493713" y="723900"/>
                    </a:lnTo>
                    <a:lnTo>
                      <a:pt x="454025" y="736600"/>
                    </a:lnTo>
                    <a:lnTo>
                      <a:pt x="414338" y="749300"/>
                    </a:lnTo>
                    <a:lnTo>
                      <a:pt x="400050" y="800100"/>
                    </a:lnTo>
                    <a:lnTo>
                      <a:pt x="374650" y="787400"/>
                    </a:lnTo>
                    <a:lnTo>
                      <a:pt x="320675" y="723900"/>
                    </a:lnTo>
                    <a:lnTo>
                      <a:pt x="293688" y="698500"/>
                    </a:lnTo>
                    <a:lnTo>
                      <a:pt x="254000" y="698500"/>
                    </a:lnTo>
                    <a:lnTo>
                      <a:pt x="229765" y="687096"/>
                    </a:lnTo>
                    <a:lnTo>
                      <a:pt x="229765" y="683033"/>
                    </a:lnTo>
                    <a:lnTo>
                      <a:pt x="252752" y="693850"/>
                    </a:lnTo>
                    <a:lnTo>
                      <a:pt x="259362" y="657060"/>
                    </a:lnTo>
                    <a:lnTo>
                      <a:pt x="175691" y="575024"/>
                    </a:lnTo>
                    <a:lnTo>
                      <a:pt x="95219" y="543800"/>
                    </a:lnTo>
                    <a:lnTo>
                      <a:pt x="100534" y="557971"/>
                    </a:lnTo>
                    <a:lnTo>
                      <a:pt x="93352" y="557971"/>
                    </a:lnTo>
                    <a:lnTo>
                      <a:pt x="85749" y="537697"/>
                    </a:lnTo>
                    <a:lnTo>
                      <a:pt x="85749" y="521816"/>
                    </a:lnTo>
                    <a:lnTo>
                      <a:pt x="79794" y="521816"/>
                    </a:lnTo>
                    <a:lnTo>
                      <a:pt x="79375" y="520700"/>
                    </a:lnTo>
                    <a:lnTo>
                      <a:pt x="160338" y="495300"/>
                    </a:lnTo>
                    <a:lnTo>
                      <a:pt x="119063" y="431800"/>
                    </a:lnTo>
                    <a:lnTo>
                      <a:pt x="160338" y="406400"/>
                    </a:lnTo>
                    <a:lnTo>
                      <a:pt x="93663" y="368300"/>
                    </a:lnTo>
                    <a:lnTo>
                      <a:pt x="79375" y="317500"/>
                    </a:lnTo>
                    <a:lnTo>
                      <a:pt x="79375" y="266700"/>
                    </a:lnTo>
                    <a:lnTo>
                      <a:pt x="26988" y="266700"/>
                    </a:lnTo>
                    <a:lnTo>
                      <a:pt x="12700" y="241300"/>
                    </a:lnTo>
                    <a:lnTo>
                      <a:pt x="52388" y="254000"/>
                    </a:lnTo>
                    <a:lnTo>
                      <a:pt x="52388" y="203200"/>
                    </a:lnTo>
                    <a:lnTo>
                      <a:pt x="93663" y="190500"/>
                    </a:lnTo>
                    <a:lnTo>
                      <a:pt x="52388" y="177800"/>
                    </a:lnTo>
                    <a:lnTo>
                      <a:pt x="12700" y="127000"/>
                    </a:lnTo>
                    <a:lnTo>
                      <a:pt x="0" y="76200"/>
                    </a:lnTo>
                    <a:lnTo>
                      <a:pt x="12700" y="38100"/>
                    </a:lnTo>
                    <a:lnTo>
                      <a:pt x="52388" y="38100"/>
                    </a:lnTo>
                    <a:lnTo>
                      <a:pt x="106363" y="12700"/>
                    </a:lnTo>
                    <a:lnTo>
                      <a:pt x="187325" y="12700"/>
                    </a:lnTo>
                    <a:lnTo>
                      <a:pt x="200025" y="0"/>
                    </a:lnTo>
                    <a:close/>
                  </a:path>
                </a:pathLst>
              </a:custGeom>
              <a:grpFill/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marL="0" marR="0" lvl="0" indent="0" algn="l" defTabSz="71323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116" name="Freeform 66">
                <a:extLst>
                  <a:ext uri="{FF2B5EF4-FFF2-40B4-BE49-F238E27FC236}">
                    <a16:creationId xmlns:a16="http://schemas.microsoft.com/office/drawing/2014/main" id="{8BA456DF-3DCA-A3C5-1650-29F9CE469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84712" y="5490231"/>
                <a:ext cx="224601" cy="226014"/>
              </a:xfrm>
              <a:custGeom>
                <a:avLst/>
                <a:gdLst>
                  <a:gd name="T0" fmla="*/ 88348 w 252491"/>
                  <a:gd name="T1" fmla="*/ 0 h 255471"/>
                  <a:gd name="T2" fmla="*/ 168820 w 252491"/>
                  <a:gd name="T3" fmla="*/ 31224 h 255471"/>
                  <a:gd name="T4" fmla="*/ 252491 w 252491"/>
                  <a:gd name="T5" fmla="*/ 113260 h 255471"/>
                  <a:gd name="T6" fmla="*/ 245881 w 252491"/>
                  <a:gd name="T7" fmla="*/ 150050 h 255471"/>
                  <a:gd name="T8" fmla="*/ 200025 w 252491"/>
                  <a:gd name="T9" fmla="*/ 128471 h 255471"/>
                  <a:gd name="T10" fmla="*/ 160338 w 252491"/>
                  <a:gd name="T11" fmla="*/ 242771 h 255471"/>
                  <a:gd name="T12" fmla="*/ 160338 w 252491"/>
                  <a:gd name="T13" fmla="*/ 255471 h 255471"/>
                  <a:gd name="T14" fmla="*/ 26988 w 252491"/>
                  <a:gd name="T15" fmla="*/ 179271 h 255471"/>
                  <a:gd name="T16" fmla="*/ 12700 w 252491"/>
                  <a:gd name="T17" fmla="*/ 179271 h 255471"/>
                  <a:gd name="T18" fmla="*/ 12700 w 252491"/>
                  <a:gd name="T19" fmla="*/ 115771 h 255471"/>
                  <a:gd name="T20" fmla="*/ 0 w 252491"/>
                  <a:gd name="T21" fmla="*/ 90371 h 255471"/>
                  <a:gd name="T22" fmla="*/ 39688 w 252491"/>
                  <a:gd name="T23" fmla="*/ 64971 h 255471"/>
                  <a:gd name="T24" fmla="*/ 52388 w 252491"/>
                  <a:gd name="T25" fmla="*/ 14171 h 255471"/>
                  <a:gd name="T26" fmla="*/ 93663 w 252491"/>
                  <a:gd name="T27" fmla="*/ 14171 h 255471"/>
                  <a:gd name="T28" fmla="*/ 88348 w 252491"/>
                  <a:gd name="T29" fmla="*/ 0 h 255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491" h="255471">
                    <a:moveTo>
                      <a:pt x="88348" y="0"/>
                    </a:moveTo>
                    <a:lnTo>
                      <a:pt x="168820" y="31224"/>
                    </a:lnTo>
                    <a:lnTo>
                      <a:pt x="252491" y="113260"/>
                    </a:lnTo>
                    <a:lnTo>
                      <a:pt x="245881" y="150050"/>
                    </a:lnTo>
                    <a:lnTo>
                      <a:pt x="200025" y="128471"/>
                    </a:lnTo>
                    <a:lnTo>
                      <a:pt x="160338" y="242771"/>
                    </a:lnTo>
                    <a:lnTo>
                      <a:pt x="160338" y="255471"/>
                    </a:lnTo>
                    <a:lnTo>
                      <a:pt x="26988" y="179271"/>
                    </a:lnTo>
                    <a:lnTo>
                      <a:pt x="12700" y="179271"/>
                    </a:lnTo>
                    <a:lnTo>
                      <a:pt x="12700" y="115771"/>
                    </a:lnTo>
                    <a:lnTo>
                      <a:pt x="0" y="90371"/>
                    </a:lnTo>
                    <a:lnTo>
                      <a:pt x="39688" y="64971"/>
                    </a:lnTo>
                    <a:lnTo>
                      <a:pt x="52388" y="14171"/>
                    </a:lnTo>
                    <a:lnTo>
                      <a:pt x="93663" y="14171"/>
                    </a:lnTo>
                    <a:lnTo>
                      <a:pt x="88348" y="0"/>
                    </a:lnTo>
                    <a:close/>
                  </a:path>
                </a:pathLst>
              </a:custGeom>
              <a:grpFill/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b="1"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marL="0" marR="0" lvl="0" indent="0" algn="l" defTabSz="71323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81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</p:grpSp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id="{6D3E13A4-676C-AC0C-C31D-56BCDDC5C7E2}"/>
              </a:ext>
            </a:extLst>
          </p:cNvPr>
          <p:cNvSpPr txBox="1"/>
          <p:nvPr/>
        </p:nvSpPr>
        <p:spPr>
          <a:xfrm>
            <a:off x="3031697" y="2281991"/>
            <a:ext cx="1948697" cy="11134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nl-NL" sz="948" dirty="0" err="1">
                <a:solidFill>
                  <a:prstClr val="black"/>
                </a:solidFill>
                <a:latin typeface="Arial"/>
              </a:rPr>
              <a:t>Developing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and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testing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the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GILL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methodology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with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six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case-studies</a:t>
            </a:r>
            <a:endParaRPr lang="nl-NL" sz="948" dirty="0">
              <a:solidFill>
                <a:prstClr val="black"/>
              </a:solidFill>
              <a:latin typeface="Arial"/>
            </a:endParaRPr>
          </a:p>
          <a:p>
            <a:pPr defTabSz="713232"/>
            <a:endParaRPr lang="nl-NL" sz="948" dirty="0">
              <a:solidFill>
                <a:prstClr val="black"/>
              </a:solidFill>
              <a:latin typeface="Arial"/>
            </a:endParaRPr>
          </a:p>
          <a:p>
            <a:pPr defTabSz="713232"/>
            <a:r>
              <a:rPr lang="nl-NL" sz="948" dirty="0" err="1">
                <a:solidFill>
                  <a:prstClr val="black"/>
                </a:solidFill>
                <a:latin typeface="Arial"/>
              </a:rPr>
              <a:t>Developping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data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inventory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for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relevant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environmental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,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spatial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and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black"/>
                </a:solidFill>
                <a:latin typeface="Arial"/>
              </a:rPr>
              <a:t>socio-demographic</a:t>
            </a:r>
            <a:r>
              <a:rPr lang="nl-NL" sz="948" dirty="0">
                <a:solidFill>
                  <a:prstClr val="black"/>
                </a:solidFill>
                <a:latin typeface="Arial"/>
              </a:rPr>
              <a:t> data</a:t>
            </a:r>
            <a:endParaRPr lang="en-GB" sz="948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989E3E07-1FFE-8CC8-0710-68CE5DE6E200}"/>
              </a:ext>
            </a:extLst>
          </p:cNvPr>
          <p:cNvSpPr txBox="1"/>
          <p:nvPr/>
        </p:nvSpPr>
        <p:spPr>
          <a:xfrm>
            <a:off x="1186200" y="1029907"/>
            <a:ext cx="6771600" cy="785809"/>
          </a:xfrm>
          <a:prstGeom prst="flowChartProcess">
            <a:avLst/>
          </a:prstGeom>
          <a:solidFill>
            <a:srgbClr val="003399"/>
          </a:solidFill>
          <a:ln>
            <a:solidFill>
              <a:srgbClr val="003399"/>
            </a:solidFill>
          </a:ln>
        </p:spPr>
        <p:txBody>
          <a:bodyPr wrap="square" rtlCol="0" anchor="t">
            <a:noAutofit/>
          </a:bodyPr>
          <a:lstStyle/>
          <a:p>
            <a:pPr defTabSz="713232"/>
            <a:r>
              <a:rPr lang="nl-NL" sz="948" b="1" dirty="0" err="1">
                <a:solidFill>
                  <a:prstClr val="white"/>
                </a:solidFill>
                <a:latin typeface="Arial"/>
              </a:rPr>
              <a:t>Funding</a:t>
            </a:r>
            <a:r>
              <a:rPr lang="nl-NL" sz="948" b="1" dirty="0">
                <a:solidFill>
                  <a:prstClr val="white"/>
                </a:solidFill>
                <a:latin typeface="Arial"/>
              </a:rPr>
              <a:t> of ESPON GILL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: a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Targeted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Analysis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to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develop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and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test a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methodology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to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quantify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the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demand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for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green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infrastructure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at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the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48" dirty="0" err="1">
                <a:solidFill>
                  <a:prstClr val="white"/>
                </a:solidFill>
                <a:latin typeface="Arial"/>
              </a:rPr>
              <a:t>local</a:t>
            </a:r>
            <a:r>
              <a:rPr lang="nl-NL" sz="948" dirty="0">
                <a:solidFill>
                  <a:prstClr val="white"/>
                </a:solidFill>
                <a:latin typeface="Arial"/>
              </a:rPr>
              <a:t> level </a:t>
            </a:r>
            <a:endParaRPr lang="en-GB" sz="948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4" name="Footer Placeholder 2">
            <a:extLst>
              <a:ext uri="{FF2B5EF4-FFF2-40B4-BE49-F238E27FC236}">
                <a16:creationId xmlns:a16="http://schemas.microsoft.com/office/drawing/2014/main" id="{DCFC181F-67CD-9D9F-69C0-DFE85CD18678}"/>
              </a:ext>
            </a:extLst>
          </p:cNvPr>
          <p:cNvSpPr txBox="1">
            <a:spLocks/>
          </p:cNvSpPr>
          <p:nvPr/>
        </p:nvSpPr>
        <p:spPr>
          <a:xfrm>
            <a:off x="1174500" y="4860000"/>
            <a:ext cx="4050000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PON GILL</a:t>
            </a:r>
            <a:endParaRPr kumimoji="0" lang="da-DK" sz="54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5" name="Slide Number Placeholder 3">
            <a:extLst>
              <a:ext uri="{FF2B5EF4-FFF2-40B4-BE49-F238E27FC236}">
                <a16:creationId xmlns:a16="http://schemas.microsoft.com/office/drawing/2014/main" id="{06203137-39C7-3CDA-5E2E-79A59AA7BB49}"/>
              </a:ext>
            </a:extLst>
          </p:cNvPr>
          <p:cNvSpPr txBox="1">
            <a:spLocks/>
          </p:cNvSpPr>
          <p:nvPr/>
        </p:nvSpPr>
        <p:spPr>
          <a:xfrm>
            <a:off x="81000" y="4860000"/>
            <a:ext cx="351000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B7C27-3FE4-4A2D-B806-6F5728E302F6}" type="slidenum">
              <a:rPr kumimoji="0" lang="da-DK" sz="54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a-DK" sz="54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04A9997C-BC60-E02B-3713-899FDA04AD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413" y="1400715"/>
            <a:ext cx="2000247" cy="246862"/>
          </a:xfrm>
          <a:prstGeom prst="rect">
            <a:avLst/>
          </a:prstGeom>
        </p:spPr>
      </p:pic>
      <p:sp>
        <p:nvSpPr>
          <p:cNvPr id="137" name="Title 1">
            <a:extLst>
              <a:ext uri="{FF2B5EF4-FFF2-40B4-BE49-F238E27FC236}">
                <a16:creationId xmlns:a16="http://schemas.microsoft.com/office/drawing/2014/main" id="{F6D79D0E-6F6D-3C2A-E8C9-E5A03E46EB86}"/>
              </a:ext>
            </a:extLst>
          </p:cNvPr>
          <p:cNvSpPr txBox="1">
            <a:spLocks/>
          </p:cNvSpPr>
          <p:nvPr/>
        </p:nvSpPr>
        <p:spPr>
          <a:xfrm>
            <a:off x="1186200" y="536625"/>
            <a:ext cx="6561000" cy="5759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Testing the methodology</a:t>
            </a:r>
            <a:endParaRPr kumimoji="0" lang="en-HR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pic>
        <p:nvPicPr>
          <p:cNvPr id="138" name="Picture 6" descr="red">
            <a:extLst>
              <a:ext uri="{FF2B5EF4-FFF2-40B4-BE49-F238E27FC236}">
                <a16:creationId xmlns:a16="http://schemas.microsoft.com/office/drawing/2014/main" id="{486CB686-0348-A717-4DF5-03E9232D4B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913" y="2365868"/>
            <a:ext cx="408902" cy="33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" name="132 CuadroTexto">
            <a:extLst>
              <a:ext uri="{FF2B5EF4-FFF2-40B4-BE49-F238E27FC236}">
                <a16:creationId xmlns:a16="http://schemas.microsoft.com/office/drawing/2014/main" id="{8C7D2E1B-5079-882D-659E-A13BBCDCCE36}"/>
              </a:ext>
            </a:extLst>
          </p:cNvPr>
          <p:cNvSpPr txBox="1"/>
          <p:nvPr/>
        </p:nvSpPr>
        <p:spPr>
          <a:xfrm>
            <a:off x="7204437" y="2166250"/>
            <a:ext cx="123995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es-ES" sz="810" b="1" dirty="0" err="1">
                <a:solidFill>
                  <a:srgbClr val="003399"/>
                </a:solidFill>
                <a:latin typeface="Arial"/>
              </a:rPr>
              <a:t>Finland</a:t>
            </a:r>
            <a:endParaRPr lang="es-ES" sz="810" b="1" dirty="0">
              <a:solidFill>
                <a:srgbClr val="003399"/>
              </a:solidFill>
              <a:latin typeface="Arial"/>
            </a:endParaRPr>
          </a:p>
          <a:p>
            <a:pPr defTabSz="713232"/>
            <a:r>
              <a:rPr lang="es-ES" sz="810" dirty="0">
                <a:solidFill>
                  <a:srgbClr val="DA5C57">
                    <a:lumMod val="75000"/>
                  </a:srgbClr>
                </a:solidFill>
                <a:latin typeface="Arial"/>
              </a:rPr>
              <a:t>Tampere</a:t>
            </a:r>
          </a:p>
        </p:txBody>
      </p:sp>
      <p:pic>
        <p:nvPicPr>
          <p:cNvPr id="140" name="Picture 6" descr="red">
            <a:extLst>
              <a:ext uri="{FF2B5EF4-FFF2-40B4-BE49-F238E27FC236}">
                <a16:creationId xmlns:a16="http://schemas.microsoft.com/office/drawing/2014/main" id="{48C57838-D17F-B5F8-D170-F81F27C33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6912" y="2948007"/>
            <a:ext cx="408902" cy="33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1" name="132 CuadroTexto">
            <a:extLst>
              <a:ext uri="{FF2B5EF4-FFF2-40B4-BE49-F238E27FC236}">
                <a16:creationId xmlns:a16="http://schemas.microsoft.com/office/drawing/2014/main" id="{C5D3FF22-0E83-1981-03EF-D655CA8F8ECD}"/>
              </a:ext>
            </a:extLst>
          </p:cNvPr>
          <p:cNvSpPr txBox="1"/>
          <p:nvPr/>
        </p:nvSpPr>
        <p:spPr>
          <a:xfrm>
            <a:off x="6458600" y="3053026"/>
            <a:ext cx="111232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es-ES" sz="810" b="1" dirty="0" err="1">
                <a:solidFill>
                  <a:srgbClr val="003399"/>
                </a:solidFill>
                <a:latin typeface="Arial"/>
              </a:rPr>
              <a:t>Belgium</a:t>
            </a:r>
            <a:endParaRPr lang="es-ES" sz="810" b="1" dirty="0">
              <a:solidFill>
                <a:srgbClr val="003399"/>
              </a:solidFill>
              <a:latin typeface="Arial"/>
            </a:endParaRPr>
          </a:p>
          <a:p>
            <a:pPr defTabSz="713232"/>
            <a:r>
              <a:rPr lang="es-ES" sz="810" dirty="0" err="1">
                <a:solidFill>
                  <a:srgbClr val="DA5C57">
                    <a:lumMod val="75000"/>
                  </a:srgbClr>
                </a:solidFill>
                <a:latin typeface="Arial"/>
              </a:rPr>
              <a:t>Roeselare</a:t>
            </a:r>
            <a:endParaRPr lang="es-ES" sz="810" dirty="0">
              <a:solidFill>
                <a:srgbClr val="DA5C57">
                  <a:lumMod val="75000"/>
                </a:srgbClr>
              </a:solidFill>
              <a:latin typeface="Arial"/>
            </a:endParaRPr>
          </a:p>
        </p:txBody>
      </p:sp>
      <p:pic>
        <p:nvPicPr>
          <p:cNvPr id="142" name="Picture 6" descr="red">
            <a:extLst>
              <a:ext uri="{FF2B5EF4-FFF2-40B4-BE49-F238E27FC236}">
                <a16:creationId xmlns:a16="http://schemas.microsoft.com/office/drawing/2014/main" id="{760C0763-C732-8FBE-F1C1-5EC24F51F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6144" y="3185522"/>
            <a:ext cx="408902" cy="33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" name="Picture 6" descr="red">
            <a:extLst>
              <a:ext uri="{FF2B5EF4-FFF2-40B4-BE49-F238E27FC236}">
                <a16:creationId xmlns:a16="http://schemas.microsoft.com/office/drawing/2014/main" id="{87E657E7-40BC-F7B3-FD42-F109F0646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963" y="2664538"/>
            <a:ext cx="408902" cy="33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" name="132 CuadroTexto">
            <a:extLst>
              <a:ext uri="{FF2B5EF4-FFF2-40B4-BE49-F238E27FC236}">
                <a16:creationId xmlns:a16="http://schemas.microsoft.com/office/drawing/2014/main" id="{26C39074-80B0-F580-5CD7-E6E9CC9D29EE}"/>
              </a:ext>
            </a:extLst>
          </p:cNvPr>
          <p:cNvSpPr txBox="1"/>
          <p:nvPr/>
        </p:nvSpPr>
        <p:spPr>
          <a:xfrm>
            <a:off x="6544420" y="3681265"/>
            <a:ext cx="818933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es-ES" sz="810" b="1" dirty="0" err="1">
                <a:solidFill>
                  <a:srgbClr val="003399"/>
                </a:solidFill>
                <a:latin typeface="Arial"/>
              </a:rPr>
              <a:t>Italy</a:t>
            </a:r>
            <a:endParaRPr lang="es-ES" sz="810" b="1" dirty="0">
              <a:solidFill>
                <a:srgbClr val="003399"/>
              </a:solidFill>
              <a:latin typeface="Arial"/>
            </a:endParaRPr>
          </a:p>
          <a:p>
            <a:pPr defTabSz="713232"/>
            <a:r>
              <a:rPr lang="es-ES" sz="810" dirty="0" err="1">
                <a:solidFill>
                  <a:srgbClr val="DA5C57">
                    <a:lumMod val="75000"/>
                  </a:srgbClr>
                </a:solidFill>
                <a:latin typeface="Arial"/>
              </a:rPr>
              <a:t>Imola</a:t>
            </a:r>
            <a:endParaRPr lang="es-ES" sz="810" dirty="0">
              <a:solidFill>
                <a:srgbClr val="DA5C57">
                  <a:lumMod val="75000"/>
                </a:srgbClr>
              </a:solidFill>
              <a:latin typeface="Arial"/>
            </a:endParaRPr>
          </a:p>
        </p:txBody>
      </p:sp>
      <p:pic>
        <p:nvPicPr>
          <p:cNvPr id="145" name="Picture 6" descr="red">
            <a:extLst>
              <a:ext uri="{FF2B5EF4-FFF2-40B4-BE49-F238E27FC236}">
                <a16:creationId xmlns:a16="http://schemas.microsoft.com/office/drawing/2014/main" id="{4653D190-EDB5-B5F7-4201-6B6543955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2658" y="3341382"/>
            <a:ext cx="408902" cy="33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6" name="132 CuadroTexto">
            <a:extLst>
              <a:ext uri="{FF2B5EF4-FFF2-40B4-BE49-F238E27FC236}">
                <a16:creationId xmlns:a16="http://schemas.microsoft.com/office/drawing/2014/main" id="{5B26232E-3479-5D85-DDA9-CF6352D8B0C9}"/>
              </a:ext>
            </a:extLst>
          </p:cNvPr>
          <p:cNvSpPr txBox="1"/>
          <p:nvPr/>
        </p:nvSpPr>
        <p:spPr>
          <a:xfrm>
            <a:off x="6974486" y="3488080"/>
            <a:ext cx="1328996" cy="311624"/>
          </a:xfrm>
          <a:prstGeom prst="rect">
            <a:avLst/>
          </a:prstGeom>
          <a:noFill/>
        </p:spPr>
        <p:txBody>
          <a:bodyPr wrap="square" lIns="61722" tIns="30861" rIns="61722" bIns="30861" rtlCol="0" anchor="t">
            <a:spAutoFit/>
          </a:bodyPr>
          <a:lstStyle/>
          <a:p>
            <a:pPr defTabSz="713232"/>
            <a:r>
              <a:rPr lang="es-ES" sz="810" b="1" dirty="0" err="1">
                <a:solidFill>
                  <a:srgbClr val="003399"/>
                </a:solidFill>
                <a:latin typeface="Arial"/>
              </a:rPr>
              <a:t>Croatia</a:t>
            </a:r>
            <a:endParaRPr lang="es-ES" sz="810" b="1" dirty="0">
              <a:solidFill>
                <a:srgbClr val="003399"/>
              </a:solidFill>
              <a:latin typeface="Arial"/>
            </a:endParaRPr>
          </a:p>
          <a:p>
            <a:pPr defTabSz="713232"/>
            <a:r>
              <a:rPr lang="es-ES" sz="810" dirty="0" err="1">
                <a:solidFill>
                  <a:srgbClr val="DA5C57">
                    <a:lumMod val="75000"/>
                  </a:srgbClr>
                </a:solidFill>
                <a:latin typeface="Arial"/>
              </a:rPr>
              <a:t>Jastrebarsko</a:t>
            </a:r>
            <a:endParaRPr lang="es-ES" sz="810" dirty="0">
              <a:solidFill>
                <a:srgbClr val="DA5C57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7" name="132 CuadroTexto">
            <a:extLst>
              <a:ext uri="{FF2B5EF4-FFF2-40B4-BE49-F238E27FC236}">
                <a16:creationId xmlns:a16="http://schemas.microsoft.com/office/drawing/2014/main" id="{1755788A-A28E-9476-F6B9-104091047AAF}"/>
              </a:ext>
            </a:extLst>
          </p:cNvPr>
          <p:cNvSpPr txBox="1"/>
          <p:nvPr/>
        </p:nvSpPr>
        <p:spPr>
          <a:xfrm>
            <a:off x="7110384" y="2716910"/>
            <a:ext cx="1074157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es-ES" sz="810" b="1" dirty="0" err="1">
                <a:solidFill>
                  <a:srgbClr val="003399"/>
                </a:solidFill>
                <a:latin typeface="Arial"/>
              </a:rPr>
              <a:t>Poland</a:t>
            </a:r>
            <a:endParaRPr lang="es-ES" sz="810" b="1" dirty="0">
              <a:solidFill>
                <a:srgbClr val="003399"/>
              </a:solidFill>
              <a:latin typeface="Arial"/>
            </a:endParaRPr>
          </a:p>
          <a:p>
            <a:pPr defTabSz="713232"/>
            <a:r>
              <a:rPr lang="es-ES" sz="810" dirty="0" err="1">
                <a:solidFill>
                  <a:srgbClr val="DA5C57">
                    <a:lumMod val="75000"/>
                  </a:srgbClr>
                </a:solidFill>
                <a:latin typeface="Arial"/>
              </a:rPr>
              <a:t>Sopot</a:t>
            </a:r>
            <a:endParaRPr lang="es-ES" sz="810" dirty="0">
              <a:solidFill>
                <a:srgbClr val="DA5C57">
                  <a:lumMod val="75000"/>
                </a:srgbClr>
              </a:solidFill>
              <a:latin typeface="Arial"/>
            </a:endParaRPr>
          </a:p>
        </p:txBody>
      </p:sp>
      <p:pic>
        <p:nvPicPr>
          <p:cNvPr id="148" name="Picture 6" descr="red">
            <a:extLst>
              <a:ext uri="{FF2B5EF4-FFF2-40B4-BE49-F238E27FC236}">
                <a16:creationId xmlns:a16="http://schemas.microsoft.com/office/drawing/2014/main" id="{F21BBC0F-2299-E46C-C0A5-BC8F4EF57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873" y="3355074"/>
            <a:ext cx="408902" cy="33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E763A90B-1943-8459-4E71-E6F344F45EBA}"/>
              </a:ext>
            </a:extLst>
          </p:cNvPr>
          <p:cNvSpPr/>
          <p:nvPr/>
        </p:nvSpPr>
        <p:spPr>
          <a:xfrm>
            <a:off x="7957800" y="1032955"/>
            <a:ext cx="843611" cy="377807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132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4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132 CuadroTexto">
            <a:extLst>
              <a:ext uri="{FF2B5EF4-FFF2-40B4-BE49-F238E27FC236}">
                <a16:creationId xmlns:a16="http://schemas.microsoft.com/office/drawing/2014/main" id="{81B9A388-ADB4-779D-A8C3-582F029467E8}"/>
              </a:ext>
            </a:extLst>
          </p:cNvPr>
          <p:cNvSpPr txBox="1"/>
          <p:nvPr/>
        </p:nvSpPr>
        <p:spPr>
          <a:xfrm>
            <a:off x="7656651" y="3076492"/>
            <a:ext cx="1130955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3232"/>
            <a:r>
              <a:rPr lang="es-ES" sz="810" b="1" dirty="0">
                <a:solidFill>
                  <a:srgbClr val="003399"/>
                </a:solidFill>
                <a:latin typeface="Arial"/>
              </a:rPr>
              <a:t>Romania</a:t>
            </a:r>
          </a:p>
          <a:p>
            <a:pPr defTabSz="713232"/>
            <a:r>
              <a:rPr lang="es-ES" sz="810" dirty="0" err="1">
                <a:solidFill>
                  <a:srgbClr val="DA5C57">
                    <a:lumMod val="75000"/>
                  </a:srgbClr>
                </a:solidFill>
                <a:latin typeface="Arial"/>
              </a:rPr>
              <a:t>Târgu</a:t>
            </a:r>
            <a:r>
              <a:rPr lang="es-ES" sz="810" dirty="0">
                <a:solidFill>
                  <a:srgbClr val="DA5C57">
                    <a:lumMod val="75000"/>
                  </a:srgbClr>
                </a:solidFill>
                <a:latin typeface="Arial"/>
              </a:rPr>
              <a:t> </a:t>
            </a:r>
            <a:r>
              <a:rPr lang="es-ES" sz="810" dirty="0" err="1">
                <a:solidFill>
                  <a:srgbClr val="DA5C57">
                    <a:lumMod val="75000"/>
                  </a:srgbClr>
                </a:solidFill>
                <a:latin typeface="Arial"/>
              </a:rPr>
              <a:t>Mureș</a:t>
            </a:r>
            <a:endParaRPr lang="es-ES" sz="810" dirty="0">
              <a:solidFill>
                <a:srgbClr val="DA5C57">
                  <a:lumMod val="75000"/>
                </a:srgbClr>
              </a:solidFill>
              <a:latin typeface="Arial"/>
            </a:endParaRPr>
          </a:p>
        </p:txBody>
      </p:sp>
      <p:pic>
        <p:nvPicPr>
          <p:cNvPr id="151" name="Imagen 4">
            <a:extLst>
              <a:ext uri="{FF2B5EF4-FFF2-40B4-BE49-F238E27FC236}">
                <a16:creationId xmlns:a16="http://schemas.microsoft.com/office/drawing/2014/main" id="{07FE784A-2D04-AAFA-8111-433B5FD715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956" y="158694"/>
            <a:ext cx="930608" cy="194621"/>
          </a:xfrm>
          <a:prstGeom prst="rect">
            <a:avLst/>
          </a:prstGeom>
        </p:spPr>
      </p:pic>
      <p:pic>
        <p:nvPicPr>
          <p:cNvPr id="152" name="Imagen 6">
            <a:extLst>
              <a:ext uri="{FF2B5EF4-FFF2-40B4-BE49-F238E27FC236}">
                <a16:creationId xmlns:a16="http://schemas.microsoft.com/office/drawing/2014/main" id="{E7904C08-564D-231A-5A77-5C6ABC5FAE6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6" y="37303"/>
            <a:ext cx="317851" cy="401422"/>
          </a:xfrm>
          <a:prstGeom prst="rect">
            <a:avLst/>
          </a:prstGeom>
        </p:spPr>
      </p:pic>
      <p:pic>
        <p:nvPicPr>
          <p:cNvPr id="153" name="Imagen 7">
            <a:extLst>
              <a:ext uri="{FF2B5EF4-FFF2-40B4-BE49-F238E27FC236}">
                <a16:creationId xmlns:a16="http://schemas.microsoft.com/office/drawing/2014/main" id="{2FB4CC17-BA04-4BBD-70AF-1A75F4D3CC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6068" y="85461"/>
            <a:ext cx="811841" cy="305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507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F11D55-4D66-E719-5C85-69F3625F1F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5B7C27-3FE4-4A2D-B806-6F5728E302F6}" type="slidenum">
              <a:rPr lang="da-DK" smtClean="0"/>
              <a:pPr/>
              <a:t>27</a:t>
            </a:fld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905AC5E-92D8-286C-6C79-3CFD8E0BBD55}"/>
              </a:ext>
            </a:extLst>
          </p:cNvPr>
          <p:cNvSpPr txBox="1">
            <a:spLocks/>
          </p:cNvSpPr>
          <p:nvPr/>
        </p:nvSpPr>
        <p:spPr>
          <a:xfrm>
            <a:off x="1186200" y="536625"/>
            <a:ext cx="6561000" cy="850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at data to quantify the demand for green infrastructure?</a:t>
            </a:r>
            <a:endParaRPr kumimoji="0" lang="en-HR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0C30ED6-0657-DA8C-B3F8-B697A8A64C37}"/>
              </a:ext>
            </a:extLst>
          </p:cNvPr>
          <p:cNvSpPr txBox="1">
            <a:spLocks/>
          </p:cNvSpPr>
          <p:nvPr/>
        </p:nvSpPr>
        <p:spPr>
          <a:xfrm>
            <a:off x="1514250" y="4631175"/>
            <a:ext cx="36450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PON GILL</a:t>
            </a:r>
            <a:endParaRPr kumimoji="0" lang="da-DK" sz="54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029D5F6-E6EE-F748-30EA-DF3966C40901}"/>
              </a:ext>
            </a:extLst>
          </p:cNvPr>
          <p:cNvSpPr txBox="1">
            <a:spLocks/>
          </p:cNvSpPr>
          <p:nvPr/>
        </p:nvSpPr>
        <p:spPr>
          <a:xfrm>
            <a:off x="530100" y="4631175"/>
            <a:ext cx="3159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B7C27-3FE4-4A2D-B806-6F5728E302F6}" type="slidenum">
              <a:rPr kumimoji="0" lang="da-DK" sz="54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a-DK" sz="54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4CE3078-8B40-39E8-376B-B1AB818B8DE4}"/>
              </a:ext>
            </a:extLst>
          </p:cNvPr>
          <p:cNvSpPr txBox="1">
            <a:spLocks/>
          </p:cNvSpPr>
          <p:nvPr/>
        </p:nvSpPr>
        <p:spPr>
          <a:xfrm>
            <a:off x="810001" y="1484999"/>
            <a:ext cx="7289822" cy="310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149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215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42997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44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859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607494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28993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6pPr>
            <a:lvl7pPr marL="850492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7pPr>
            <a:lvl8pPr marL="971990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8pPr>
            <a:lvl9pPr marL="109348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9pPr>
          </a:lstStyle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atial and statistical datasets (e.g., land use, biodiversity, socio-economic indicators): often </a:t>
            </a:r>
            <a:r>
              <a:rPr kumimoji="0" lang="en-GB" sz="1215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fragmented</a:t>
            </a: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cross institutions, </a:t>
            </a:r>
            <a:r>
              <a:rPr kumimoji="0" lang="en-GB" sz="1215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difficult to access</a:t>
            </a: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or not collected at the appropriate scale for urban-level GI planning.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sets may lack sufficient </a:t>
            </a:r>
            <a:r>
              <a:rPr kumimoji="0" lang="en-GB" sz="1215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spatial resolution, granularity, or temporal consistency</a:t>
            </a: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assess ecosystem service supply and demand at the relevant city scale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GB" sz="1215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60D1AC-FE1E-5555-4958-72645A266D32}"/>
              </a:ext>
            </a:extLst>
          </p:cNvPr>
          <p:cNvSpPr txBox="1"/>
          <p:nvPr/>
        </p:nvSpPr>
        <p:spPr>
          <a:xfrm>
            <a:off x="1080651" y="3003652"/>
            <a:ext cx="6771600" cy="785809"/>
          </a:xfrm>
          <a:prstGeom prst="flowChartProcess">
            <a:avLst/>
          </a:prstGeom>
          <a:solidFill>
            <a:srgbClr val="003399"/>
          </a:solidFill>
          <a:ln>
            <a:solidFill>
              <a:srgbClr val="003399"/>
            </a:solidFill>
          </a:ln>
        </p:spPr>
        <p:txBody>
          <a:bodyPr wrap="square" rtlCol="0" anchor="ctr">
            <a:noAutofit/>
          </a:bodyPr>
          <a:lstStyle/>
          <a:p>
            <a:pPr defTabSz="713232"/>
            <a:r>
              <a:rPr lang="nl-NL" sz="990" b="1" dirty="0">
                <a:solidFill>
                  <a:prstClr val="white"/>
                </a:solidFill>
                <a:latin typeface="Arial"/>
              </a:rPr>
              <a:t>ESPON GILL 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focused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 on 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local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 data sources (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municipal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) 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and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proposes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 proxy sources 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from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 EU level data sources (CORINE Land Cover, EEA 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soil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 </a:t>
            </a:r>
            <a:r>
              <a:rPr lang="nl-NL" sz="990" b="1" dirty="0" err="1">
                <a:solidFill>
                  <a:prstClr val="white"/>
                </a:solidFill>
                <a:latin typeface="Arial"/>
              </a:rPr>
              <a:t>maps</a:t>
            </a:r>
            <a:r>
              <a:rPr lang="nl-NL" sz="990" b="1" dirty="0">
                <a:solidFill>
                  <a:prstClr val="white"/>
                </a:solidFill>
                <a:latin typeface="Arial"/>
              </a:rPr>
              <a:t>, WISE, etc.)</a:t>
            </a:r>
            <a:endParaRPr lang="en-GB" sz="99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n 4">
            <a:extLst>
              <a:ext uri="{FF2B5EF4-FFF2-40B4-BE49-F238E27FC236}">
                <a16:creationId xmlns:a16="http://schemas.microsoft.com/office/drawing/2014/main" id="{AB8CE184-583D-5D91-2964-78E19CB4A6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956" y="158694"/>
            <a:ext cx="930608" cy="194621"/>
          </a:xfrm>
          <a:prstGeom prst="rect">
            <a:avLst/>
          </a:prstGeom>
        </p:spPr>
      </p:pic>
      <p:pic>
        <p:nvPicPr>
          <p:cNvPr id="11" name="Imagen 6">
            <a:extLst>
              <a:ext uri="{FF2B5EF4-FFF2-40B4-BE49-F238E27FC236}">
                <a16:creationId xmlns:a16="http://schemas.microsoft.com/office/drawing/2014/main" id="{FF8871F1-5FE2-9D3B-6FD4-26825A1AF3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6" y="37303"/>
            <a:ext cx="317851" cy="401422"/>
          </a:xfrm>
          <a:prstGeom prst="rect">
            <a:avLst/>
          </a:prstGeom>
        </p:spPr>
      </p:pic>
      <p:pic>
        <p:nvPicPr>
          <p:cNvPr id="12" name="Imagen 7">
            <a:extLst>
              <a:ext uri="{FF2B5EF4-FFF2-40B4-BE49-F238E27FC236}">
                <a16:creationId xmlns:a16="http://schemas.microsoft.com/office/drawing/2014/main" id="{4BD23C77-3E5A-A547-9382-7826F7C0DC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6068" y="85461"/>
            <a:ext cx="811841" cy="305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6052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C63F1C-632C-762A-50FD-4606484779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5B7C27-3FE4-4A2D-B806-6F5728E302F6}" type="slidenum">
              <a:rPr lang="da-DK" smtClean="0"/>
              <a:pPr/>
              <a:t>28</a:t>
            </a:fld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EA0F87-D444-1C9D-AAD5-A5D5A50E3082}"/>
              </a:ext>
            </a:extLst>
          </p:cNvPr>
          <p:cNvSpPr txBox="1">
            <a:spLocks/>
          </p:cNvSpPr>
          <p:nvPr/>
        </p:nvSpPr>
        <p:spPr>
          <a:xfrm>
            <a:off x="1186200" y="536625"/>
            <a:ext cx="6561000" cy="850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l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How to inform urban planning?</a:t>
            </a:r>
            <a:b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</a:b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e are looking for Good Practices</a:t>
            </a:r>
            <a:endParaRPr kumimoji="0" lang="en-HR" sz="2565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7ABDCE2-2E48-19B3-462B-1E48AB4C17E2}"/>
              </a:ext>
            </a:extLst>
          </p:cNvPr>
          <p:cNvSpPr txBox="1">
            <a:spLocks/>
          </p:cNvSpPr>
          <p:nvPr/>
        </p:nvSpPr>
        <p:spPr>
          <a:xfrm>
            <a:off x="1514250" y="4631175"/>
            <a:ext cx="36450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PON GILL</a:t>
            </a:r>
            <a:endParaRPr kumimoji="0" lang="da-DK" sz="54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EA0B9BF-7C77-BC25-922B-F394FFA70214}"/>
              </a:ext>
            </a:extLst>
          </p:cNvPr>
          <p:cNvSpPr txBox="1">
            <a:spLocks/>
          </p:cNvSpPr>
          <p:nvPr/>
        </p:nvSpPr>
        <p:spPr>
          <a:xfrm>
            <a:off x="530100" y="4631175"/>
            <a:ext cx="315900" cy="1215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713232" rtl="0" eaLnBrk="1" latinLnBrk="0" hangingPunct="1">
              <a:defRPr sz="540" kern="120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B7C27-3FE4-4A2D-B806-6F5728E302F6}" type="slidenum">
              <a:rPr kumimoji="0" lang="da-DK" sz="54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a-DK" sz="54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1BA5082-BF40-CE6A-F82B-C214380F6343}"/>
              </a:ext>
            </a:extLst>
          </p:cNvPr>
          <p:cNvSpPr txBox="1">
            <a:spLocks/>
          </p:cNvSpPr>
          <p:nvPr/>
        </p:nvSpPr>
        <p:spPr>
          <a:xfrm>
            <a:off x="1186201" y="1593674"/>
            <a:ext cx="4572754" cy="2794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149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215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42997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44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85996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607494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28993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6pPr>
            <a:lvl7pPr marL="850492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7pPr>
            <a:lvl8pPr marL="971990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8pPr>
            <a:lvl9pPr marL="1093489" indent="-121499" algn="l" defTabSz="6172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8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9pPr>
          </a:lstStyle>
          <a:p>
            <a:pPr marL="0" marR="0" lvl="0" indent="0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are collecting examples of planning documents by local authorities relevant to green infrastructure. 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ban nature plan 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 infrastructure plan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ban forestry plan 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adaptation plan 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ban biodiversity strategy 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atial development plan with a focus on green infrastructure</a:t>
            </a:r>
          </a:p>
          <a:p>
            <a:pPr marL="121499" marR="0" lvl="0" indent="-121499" algn="l" defTabSz="61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F179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15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tc. </a:t>
            </a:r>
            <a:endParaRPr kumimoji="0" lang="en-GB" sz="1215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Picture 2" descr="QR Code Image">
            <a:extLst>
              <a:ext uri="{FF2B5EF4-FFF2-40B4-BE49-F238E27FC236}">
                <a16:creationId xmlns:a16="http://schemas.microsoft.com/office/drawing/2014/main" id="{42F4E8A2-5ED8-3090-C911-4E84AF489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152" y="1671148"/>
            <a:ext cx="2198847" cy="2198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FCB0347-80B5-8320-B538-378F6C70CB51}"/>
              </a:ext>
            </a:extLst>
          </p:cNvPr>
          <p:cNvSpPr txBox="1"/>
          <p:nvPr/>
        </p:nvSpPr>
        <p:spPr>
          <a:xfrm>
            <a:off x="1125856" y="3967856"/>
            <a:ext cx="6831944" cy="4662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17214">
              <a:spcAft>
                <a:spcPts val="675"/>
              </a:spcAft>
              <a:buClr>
                <a:srgbClr val="F17900"/>
              </a:buClr>
              <a:buSzPct val="100000"/>
              <a:defRPr/>
            </a:pPr>
            <a:r>
              <a:rPr lang="en-GB" sz="1215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ected plans will be included in a repository of good practices, serving as inspiration and guidance for other cities and towns developing green infrastructure and urban nature plan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00D7F-ED30-2822-8939-BA598C719D71}"/>
              </a:ext>
            </a:extLst>
          </p:cNvPr>
          <p:cNvSpPr txBox="1"/>
          <p:nvPr/>
        </p:nvSpPr>
        <p:spPr>
          <a:xfrm>
            <a:off x="6347605" y="1484464"/>
            <a:ext cx="1839872" cy="238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13232"/>
            <a:r>
              <a:rPr lang="nl-NL" sz="948" b="1" dirty="0">
                <a:solidFill>
                  <a:prstClr val="black"/>
                </a:solidFill>
                <a:latin typeface="Arial"/>
              </a:rPr>
              <a:t>SCAN THE QR CODE</a:t>
            </a:r>
            <a:endParaRPr lang="en-GB" sz="948" b="1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Imagen 4">
            <a:extLst>
              <a:ext uri="{FF2B5EF4-FFF2-40B4-BE49-F238E27FC236}">
                <a16:creationId xmlns:a16="http://schemas.microsoft.com/office/drawing/2014/main" id="{41155DA8-F611-13D3-F3AB-2CA465011C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956" y="158694"/>
            <a:ext cx="930608" cy="194621"/>
          </a:xfrm>
          <a:prstGeom prst="rect">
            <a:avLst/>
          </a:prstGeom>
        </p:spPr>
      </p:pic>
      <p:pic>
        <p:nvPicPr>
          <p:cNvPr id="13" name="Imagen 6">
            <a:extLst>
              <a:ext uri="{FF2B5EF4-FFF2-40B4-BE49-F238E27FC236}">
                <a16:creationId xmlns:a16="http://schemas.microsoft.com/office/drawing/2014/main" id="{00C89D7A-6AFE-EBB7-7D0B-A476DBA30F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6" y="37303"/>
            <a:ext cx="317851" cy="401422"/>
          </a:xfrm>
          <a:prstGeom prst="rect">
            <a:avLst/>
          </a:prstGeom>
        </p:spPr>
      </p:pic>
      <p:pic>
        <p:nvPicPr>
          <p:cNvPr id="14" name="Imagen 7">
            <a:extLst>
              <a:ext uri="{FF2B5EF4-FFF2-40B4-BE49-F238E27FC236}">
                <a16:creationId xmlns:a16="http://schemas.microsoft.com/office/drawing/2014/main" id="{456245BC-FFC0-6CE3-43A7-EB35252727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6068" y="85461"/>
            <a:ext cx="811841" cy="305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8548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FC53D69-81BB-5B46-2B20-9AF95FD1F031}"/>
              </a:ext>
            </a:extLst>
          </p:cNvPr>
          <p:cNvSpPr/>
          <p:nvPr/>
        </p:nvSpPr>
        <p:spPr>
          <a:xfrm>
            <a:off x="457202" y="3126913"/>
            <a:ext cx="8229599" cy="8017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48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D24D2-8A4F-7CC8-79C1-09CCD406EA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2" y="4202293"/>
            <a:ext cx="8229599" cy="392432"/>
          </a:xfrm>
        </p:spPr>
        <p:txBody>
          <a:bodyPr/>
          <a:lstStyle/>
          <a:p>
            <a:pPr algn="ctr"/>
            <a:r>
              <a:rPr lang="es-ES" dirty="0"/>
              <a:t>clouet@institute-urbanex.org</a:t>
            </a:r>
            <a:endParaRPr lang="en-HR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9B06E06F-82BB-E1A8-BDBD-B756221BDE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4564" y="3338704"/>
            <a:ext cx="1227677" cy="256747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8FDD61F-E568-0159-83EC-E4195EDB5F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819" y="3178079"/>
            <a:ext cx="493376" cy="62309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79400347-EAC5-75C2-3B12-54AFACAF6C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30183" y="3221939"/>
            <a:ext cx="1308126" cy="491616"/>
          </a:xfrm>
          <a:prstGeom prst="rect">
            <a:avLst/>
          </a:prstGeom>
          <a:noFill/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DFAF49B-1816-312E-6BCB-60B850AC7A07}"/>
              </a:ext>
            </a:extLst>
          </p:cNvPr>
          <p:cNvSpPr txBox="1">
            <a:spLocks/>
          </p:cNvSpPr>
          <p:nvPr/>
        </p:nvSpPr>
        <p:spPr>
          <a:xfrm>
            <a:off x="457202" y="1399275"/>
            <a:ext cx="8229599" cy="1172476"/>
          </a:xfrm>
          <a:prstGeom prst="rect">
            <a:avLst/>
          </a:prstGeom>
          <a:noFill/>
        </p:spPr>
        <p:txBody>
          <a:bodyPr vert="horz" lIns="0" tIns="0" rIns="360000" bIns="72000" rtlCol="0" anchor="b" anchorCtr="0">
            <a:noAutofit/>
          </a:bodyPr>
          <a:lstStyle>
            <a:lvl1pPr algn="l" defTabSz="617214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565" b="1" kern="120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617214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565" b="1" i="0" u="none" strike="noStrike" kern="1200" cap="none" spc="0" normalizeH="0" baseline="0" noProof="0">
                <a:ln>
                  <a:noFill/>
                </a:ln>
                <a:solidFill>
                  <a:srgbClr val="F17900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THANK YOU</a:t>
            </a:r>
            <a:endParaRPr kumimoji="0" lang="en-HR" sz="2565" b="1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99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B957B55-E5B2-28AB-0314-85FBFE400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371EC66-2A7E-2BBE-B60D-D6F73484A4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1A2A566D-B572-78E4-A850-F27735A5EA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468" y="1551332"/>
            <a:ext cx="1710792" cy="171295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66437A79-9CD0-0815-2618-2ACC547B23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42219" y="1562010"/>
            <a:ext cx="1710792" cy="171295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B17E394-3E64-B318-8294-19656FCDFE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69158" y="1545636"/>
            <a:ext cx="1710792" cy="1712959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E584EC8-1C14-49F7-4058-8F72BDC28515}"/>
              </a:ext>
            </a:extLst>
          </p:cNvPr>
          <p:cNvSpPr txBox="1">
            <a:spLocks/>
          </p:cNvSpPr>
          <p:nvPr/>
        </p:nvSpPr>
        <p:spPr>
          <a:xfrm>
            <a:off x="3994705" y="3307768"/>
            <a:ext cx="1673525" cy="3316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GB" sz="2000" b="1" dirty="0">
                <a:solidFill>
                  <a:srgbClr val="E94E1A"/>
                </a:solidFill>
              </a:rPr>
              <a:t>Better Fund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D3CA34-78D7-734B-B8F7-1D46A8B8D075}"/>
              </a:ext>
            </a:extLst>
          </p:cNvPr>
          <p:cNvSpPr txBox="1">
            <a:spLocks/>
          </p:cNvSpPr>
          <p:nvPr/>
        </p:nvSpPr>
        <p:spPr>
          <a:xfrm>
            <a:off x="5832351" y="3286029"/>
            <a:ext cx="2338367" cy="3534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b="1" dirty="0">
                <a:solidFill>
                  <a:srgbClr val="E94E1A"/>
                </a:solidFill>
              </a:rPr>
              <a:t>Better Knowled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2EE55B-7EF7-FF4A-1553-251AD29BB108}"/>
              </a:ext>
            </a:extLst>
          </p:cNvPr>
          <p:cNvSpPr txBox="1"/>
          <p:nvPr/>
        </p:nvSpPr>
        <p:spPr>
          <a:xfrm>
            <a:off x="2589679" y="555526"/>
            <a:ext cx="3964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rgbClr val="0C114D"/>
                </a:solidFill>
                <a:latin typeface="Ubuntu" panose="020B0504030602030204" pitchFamily="34" charset="0"/>
              </a:rPr>
              <a:t>The three pillars</a:t>
            </a:r>
            <a:endParaRPr lang="en-GR" sz="2800" b="1" dirty="0">
              <a:solidFill>
                <a:srgbClr val="0C114D"/>
              </a:solidFill>
              <a:latin typeface="Ubuntu" panose="020B0504030602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D22AAE-FED3-DA9E-A59C-10799F1B9E3E}"/>
              </a:ext>
            </a:extLst>
          </p:cNvPr>
          <p:cNvSpPr/>
          <p:nvPr/>
        </p:nvSpPr>
        <p:spPr>
          <a:xfrm>
            <a:off x="1979051" y="4179683"/>
            <a:ext cx="1673525" cy="957532"/>
          </a:xfrm>
          <a:prstGeom prst="rect">
            <a:avLst/>
          </a:prstGeom>
          <a:solidFill>
            <a:srgbClr val="1AA9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sz="24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A4E7B08-E732-3EF0-8083-2CE60234520A}"/>
              </a:ext>
            </a:extLst>
          </p:cNvPr>
          <p:cNvSpPr/>
          <p:nvPr/>
        </p:nvSpPr>
        <p:spPr>
          <a:xfrm>
            <a:off x="4067945" y="4179683"/>
            <a:ext cx="1673525" cy="957532"/>
          </a:xfrm>
          <a:prstGeom prst="rect">
            <a:avLst/>
          </a:prstGeom>
          <a:solidFill>
            <a:srgbClr val="1AA9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9F978EC-0C32-CF8E-2D54-32325205A133}"/>
              </a:ext>
            </a:extLst>
          </p:cNvPr>
          <p:cNvSpPr/>
          <p:nvPr/>
        </p:nvSpPr>
        <p:spPr>
          <a:xfrm>
            <a:off x="6156839" y="4187576"/>
            <a:ext cx="1673525" cy="957532"/>
          </a:xfrm>
          <a:prstGeom prst="rect">
            <a:avLst/>
          </a:prstGeom>
          <a:solidFill>
            <a:srgbClr val="1AA9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sz="240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C0A9D5F-F36B-4D35-EE57-79D3E42AB625}"/>
              </a:ext>
            </a:extLst>
          </p:cNvPr>
          <p:cNvSpPr txBox="1">
            <a:spLocks/>
          </p:cNvSpPr>
          <p:nvPr/>
        </p:nvSpPr>
        <p:spPr>
          <a:xfrm>
            <a:off x="1969963" y="3307768"/>
            <a:ext cx="1673525" cy="3316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GB" sz="2000" b="1" dirty="0">
                <a:solidFill>
                  <a:srgbClr val="E94E1A"/>
                </a:solidFill>
              </a:rPr>
              <a:t>Better Regulation</a:t>
            </a:r>
          </a:p>
        </p:txBody>
      </p:sp>
    </p:spTree>
    <p:extLst>
      <p:ext uri="{BB962C8B-B14F-4D97-AF65-F5344CB8AC3E}">
        <p14:creationId xmlns:p14="http://schemas.microsoft.com/office/powerpoint/2010/main" val="42869273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BC9751-C1AC-1D3D-C8FA-2E47E40728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FBCA3A-C509-AD46-5528-7EF2471516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089" y="843558"/>
            <a:ext cx="3769887" cy="3769887"/>
          </a:xfrm>
          <a:prstGeom prst="rect">
            <a:avLst/>
          </a:prstGeom>
        </p:spPr>
      </p:pic>
      <p:sp>
        <p:nvSpPr>
          <p:cNvPr id="6" name="ZoneTexte 1">
            <a:extLst>
              <a:ext uri="{FF2B5EF4-FFF2-40B4-BE49-F238E27FC236}">
                <a16:creationId xmlns:a16="http://schemas.microsoft.com/office/drawing/2014/main" id="{58FAC7B1-52B9-89BB-9B34-995496CD45A0}"/>
              </a:ext>
            </a:extLst>
          </p:cNvPr>
          <p:cNvSpPr txBox="1"/>
          <p:nvPr/>
        </p:nvSpPr>
        <p:spPr>
          <a:xfrm>
            <a:off x="4499992" y="3447100"/>
            <a:ext cx="4320480" cy="1166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rgbClr val="4B7BBC"/>
                </a:solidFill>
                <a:latin typeface="Ubuntu" panose="020B0504030602030204" pitchFamily="34" charset="0"/>
                <a:hlinkClick r:id="rId3"/>
              </a:rPr>
              <a:t>www.slido.com</a:t>
            </a:r>
            <a:endParaRPr lang="en-US" sz="3200" b="1" dirty="0">
              <a:solidFill>
                <a:srgbClr val="4B7BBC"/>
              </a:solidFill>
              <a:latin typeface="Ubuntu" panose="020B0504030602030204" pitchFamily="34" charset="0"/>
            </a:endParaRPr>
          </a:p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#greening</a:t>
            </a:r>
            <a:endParaRPr lang="en-US" sz="3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7C8B85-8B1F-E162-502F-D73429F3AA9C}"/>
              </a:ext>
            </a:extLst>
          </p:cNvPr>
          <p:cNvSpPr/>
          <p:nvPr/>
        </p:nvSpPr>
        <p:spPr>
          <a:xfrm>
            <a:off x="5057932" y="754779"/>
            <a:ext cx="1842515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9" name="Flowchart: Delay 7">
            <a:extLst>
              <a:ext uri="{FF2B5EF4-FFF2-40B4-BE49-F238E27FC236}">
                <a16:creationId xmlns:a16="http://schemas.microsoft.com/office/drawing/2014/main" id="{85E4A91F-63CF-6007-6E98-396F9CA4BB0D}"/>
              </a:ext>
            </a:extLst>
          </p:cNvPr>
          <p:cNvSpPr/>
          <p:nvPr/>
        </p:nvSpPr>
        <p:spPr>
          <a:xfrm>
            <a:off x="6866127" y="754779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10" name="Flowchart: Delay 7">
            <a:extLst>
              <a:ext uri="{FF2B5EF4-FFF2-40B4-BE49-F238E27FC236}">
                <a16:creationId xmlns:a16="http://schemas.microsoft.com/office/drawing/2014/main" id="{D5EAC210-EBCE-998B-79B6-8D4A34CA7CE2}"/>
              </a:ext>
            </a:extLst>
          </p:cNvPr>
          <p:cNvSpPr/>
          <p:nvPr/>
        </p:nvSpPr>
        <p:spPr>
          <a:xfrm flipH="1">
            <a:off x="4697099" y="754779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A5500D2-72AE-A94D-3CD0-EE7968980DDC}"/>
              </a:ext>
            </a:extLst>
          </p:cNvPr>
          <p:cNvSpPr>
            <a:spLocks noGrp="1"/>
          </p:cNvSpPr>
          <p:nvPr/>
        </p:nvSpPr>
        <p:spPr>
          <a:xfrm>
            <a:off x="5004048" y="677689"/>
            <a:ext cx="2585985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2400" dirty="0">
                <a:solidFill>
                  <a:schemeClr val="bg1"/>
                </a:solidFill>
                <a:latin typeface="Ubuntu" panose="020B0504030602030204" pitchFamily="34" charset="0"/>
              </a:rPr>
              <a:t> poll #2 </a:t>
            </a:r>
          </a:p>
        </p:txBody>
      </p:sp>
    </p:spTree>
    <p:extLst>
      <p:ext uri="{BB962C8B-B14F-4D97-AF65-F5344CB8AC3E}">
        <p14:creationId xmlns:p14="http://schemas.microsoft.com/office/powerpoint/2010/main" val="9837773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73CDB2-7659-B69A-BE01-25252764C2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E0449-4D1D-282C-B715-EC050414F1B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6016" y="1830793"/>
            <a:ext cx="4248472" cy="1317021"/>
          </a:xfrm>
          <a:prstGeom prst="rect">
            <a:avLst/>
          </a:prstGeom>
          <a:noFill/>
          <a:ln w="25400" cap="flat" cmpd="sng" algn="ctr">
            <a:solidFill>
              <a:srgbClr val="FFFFFF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F34F24"/>
                </a:solidFill>
                <a:latin typeface="Ubuntu" panose="020B0504030602030204" pitchFamily="34" charset="0"/>
              </a:rPr>
              <a:t>Which of the following questions would you like the speakers to explore further? Rank the ques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DC6F44-A3AA-9DDB-EB5B-8303D3D40F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089" y="843558"/>
            <a:ext cx="3769887" cy="3769887"/>
          </a:xfrm>
          <a:prstGeom prst="rect">
            <a:avLst/>
          </a:prstGeom>
        </p:spPr>
      </p:pic>
      <p:sp>
        <p:nvSpPr>
          <p:cNvPr id="6" name="ZoneTexte 1">
            <a:extLst>
              <a:ext uri="{FF2B5EF4-FFF2-40B4-BE49-F238E27FC236}">
                <a16:creationId xmlns:a16="http://schemas.microsoft.com/office/drawing/2014/main" id="{DBE1DB54-0E80-4B01-43A0-73395942E012}"/>
              </a:ext>
            </a:extLst>
          </p:cNvPr>
          <p:cNvSpPr txBox="1"/>
          <p:nvPr/>
        </p:nvSpPr>
        <p:spPr>
          <a:xfrm>
            <a:off x="4499992" y="3447100"/>
            <a:ext cx="4320480" cy="1166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rgbClr val="4B7BBC"/>
                </a:solidFill>
                <a:latin typeface="Ubuntu" panose="020B0504030602030204" pitchFamily="34" charset="0"/>
                <a:hlinkClick r:id="rId4"/>
              </a:rPr>
              <a:t>www.slido.com</a:t>
            </a:r>
            <a:endParaRPr lang="en-US" sz="3200" b="1" dirty="0">
              <a:solidFill>
                <a:srgbClr val="4B7BBC"/>
              </a:solidFill>
              <a:latin typeface="Ubuntu" panose="020B0504030602030204" pitchFamily="34" charset="0"/>
            </a:endParaRPr>
          </a:p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#greening</a:t>
            </a:r>
            <a:endParaRPr lang="en-US" sz="3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170AF6-4577-64AC-F432-B73BF1B81088}"/>
              </a:ext>
            </a:extLst>
          </p:cNvPr>
          <p:cNvSpPr/>
          <p:nvPr/>
        </p:nvSpPr>
        <p:spPr>
          <a:xfrm>
            <a:off x="5057932" y="754779"/>
            <a:ext cx="1842515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5" name="Flowchart: Delay 7">
            <a:extLst>
              <a:ext uri="{FF2B5EF4-FFF2-40B4-BE49-F238E27FC236}">
                <a16:creationId xmlns:a16="http://schemas.microsoft.com/office/drawing/2014/main" id="{27579749-3075-86DA-247B-73F50F827695}"/>
              </a:ext>
            </a:extLst>
          </p:cNvPr>
          <p:cNvSpPr/>
          <p:nvPr/>
        </p:nvSpPr>
        <p:spPr>
          <a:xfrm>
            <a:off x="6866127" y="754779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7" name="Flowchart: Delay 7">
            <a:extLst>
              <a:ext uri="{FF2B5EF4-FFF2-40B4-BE49-F238E27FC236}">
                <a16:creationId xmlns:a16="http://schemas.microsoft.com/office/drawing/2014/main" id="{F1B9F3E7-5A95-7B27-52A9-6F4B39D5DB8D}"/>
              </a:ext>
            </a:extLst>
          </p:cNvPr>
          <p:cNvSpPr/>
          <p:nvPr/>
        </p:nvSpPr>
        <p:spPr>
          <a:xfrm flipH="1">
            <a:off x="4697099" y="754779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779768-CF3C-BBAE-1783-3B48961A0A4C}"/>
              </a:ext>
            </a:extLst>
          </p:cNvPr>
          <p:cNvSpPr>
            <a:spLocks noGrp="1"/>
          </p:cNvSpPr>
          <p:nvPr/>
        </p:nvSpPr>
        <p:spPr>
          <a:xfrm>
            <a:off x="5004048" y="677689"/>
            <a:ext cx="2585985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2400" dirty="0">
                <a:solidFill>
                  <a:schemeClr val="bg1"/>
                </a:solidFill>
                <a:latin typeface="Ubuntu" panose="020B0504030602030204" pitchFamily="34" charset="0"/>
              </a:rPr>
              <a:t> poll #2 </a:t>
            </a:r>
          </a:p>
        </p:txBody>
      </p:sp>
    </p:spTree>
    <p:extLst>
      <p:ext uri="{BB962C8B-B14F-4D97-AF65-F5344CB8AC3E}">
        <p14:creationId xmlns:p14="http://schemas.microsoft.com/office/powerpoint/2010/main" val="23903664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8D4E768-55C8-CCB6-AB84-46C56AEFE0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7248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CA106-F422-7C52-F895-04339E63F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20CC70-AA4C-3894-6D3F-9B998D1C09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1735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CE092E-8887-8680-3472-2FBA5256E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A1E28D-D4EC-19E2-AD26-EAFBE5B65A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2632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52DA3-7953-7BA6-690C-E35BBC589E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18F878-0E7A-A2E6-5DD1-8A9CA9AD2E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1456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403769-BD81-711D-05F2-4C7CE18AA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D789E0-457C-D6B0-8DCA-32D2B9961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2250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05400-EA4E-B941-370B-CA0141301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AB32143-0490-A98F-E473-9917826EA9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2442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45D305-FB31-D181-050D-BC8FE84A29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67D54D-202C-7A2C-8C1E-076F6FB88B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8677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38FCA5-3323-EED9-5AFC-8D75A2D5E7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39814F-81DB-4B15-5FD4-0A99AC92A8C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6016" y="1830793"/>
            <a:ext cx="4248472" cy="1317021"/>
          </a:xfrm>
          <a:prstGeom prst="rect">
            <a:avLst/>
          </a:prstGeom>
          <a:noFill/>
          <a:ln w="25400" cap="flat" cmpd="sng" algn="ctr">
            <a:solidFill>
              <a:srgbClr val="FFFFFF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F34F24"/>
                </a:solidFill>
                <a:latin typeface="Ubuntu" panose="020B0504030602030204" pitchFamily="34" charset="0"/>
              </a:rPr>
              <a:t>Which of the following questions would you like the speakers to explore further? Rank the ques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DD2564-350F-65BB-AF57-6DB2DF9EE2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089" y="843558"/>
            <a:ext cx="3769887" cy="3769887"/>
          </a:xfrm>
          <a:prstGeom prst="rect">
            <a:avLst/>
          </a:prstGeom>
        </p:spPr>
      </p:pic>
      <p:sp>
        <p:nvSpPr>
          <p:cNvPr id="6" name="ZoneTexte 1">
            <a:extLst>
              <a:ext uri="{FF2B5EF4-FFF2-40B4-BE49-F238E27FC236}">
                <a16:creationId xmlns:a16="http://schemas.microsoft.com/office/drawing/2014/main" id="{E18884AF-87A9-9B07-BEB8-350905BA9516}"/>
              </a:ext>
            </a:extLst>
          </p:cNvPr>
          <p:cNvSpPr txBox="1"/>
          <p:nvPr/>
        </p:nvSpPr>
        <p:spPr>
          <a:xfrm>
            <a:off x="4499992" y="3447100"/>
            <a:ext cx="4320480" cy="1166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rgbClr val="4B7BBC"/>
                </a:solidFill>
                <a:latin typeface="Ubuntu" panose="020B0504030602030204" pitchFamily="34" charset="0"/>
                <a:hlinkClick r:id="rId4"/>
              </a:rPr>
              <a:t>www.slido.com</a:t>
            </a:r>
            <a:endParaRPr lang="en-US" sz="3200" b="1" dirty="0">
              <a:solidFill>
                <a:srgbClr val="4B7BBC"/>
              </a:solidFill>
              <a:latin typeface="Ubuntu" panose="020B0504030602030204" pitchFamily="34" charset="0"/>
            </a:endParaRPr>
          </a:p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#greening</a:t>
            </a:r>
            <a:endParaRPr lang="en-US" sz="3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90BC961-9FDC-E027-912D-8941E3F23D31}"/>
              </a:ext>
            </a:extLst>
          </p:cNvPr>
          <p:cNvSpPr/>
          <p:nvPr/>
        </p:nvSpPr>
        <p:spPr>
          <a:xfrm>
            <a:off x="5057932" y="754779"/>
            <a:ext cx="1842515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5" name="Flowchart: Delay 7">
            <a:extLst>
              <a:ext uri="{FF2B5EF4-FFF2-40B4-BE49-F238E27FC236}">
                <a16:creationId xmlns:a16="http://schemas.microsoft.com/office/drawing/2014/main" id="{174D93C6-44E1-C7F5-B47D-C6AA1068DBFB}"/>
              </a:ext>
            </a:extLst>
          </p:cNvPr>
          <p:cNvSpPr/>
          <p:nvPr/>
        </p:nvSpPr>
        <p:spPr>
          <a:xfrm>
            <a:off x="6866127" y="754779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7" name="Flowchart: Delay 7">
            <a:extLst>
              <a:ext uri="{FF2B5EF4-FFF2-40B4-BE49-F238E27FC236}">
                <a16:creationId xmlns:a16="http://schemas.microsoft.com/office/drawing/2014/main" id="{0086368C-CB60-BDC4-4863-66279AC32891}"/>
              </a:ext>
            </a:extLst>
          </p:cNvPr>
          <p:cNvSpPr/>
          <p:nvPr/>
        </p:nvSpPr>
        <p:spPr>
          <a:xfrm flipH="1">
            <a:off x="4697099" y="754779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CEB1A87-3F37-DA61-7762-8664273705EE}"/>
              </a:ext>
            </a:extLst>
          </p:cNvPr>
          <p:cNvSpPr>
            <a:spLocks noGrp="1"/>
          </p:cNvSpPr>
          <p:nvPr/>
        </p:nvSpPr>
        <p:spPr>
          <a:xfrm>
            <a:off x="5004048" y="677689"/>
            <a:ext cx="2585985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2400" dirty="0">
                <a:solidFill>
                  <a:schemeClr val="bg1"/>
                </a:solidFill>
                <a:latin typeface="Ubuntu" panose="020B0504030602030204" pitchFamily="34" charset="0"/>
              </a:rPr>
              <a:t> poll #2 </a:t>
            </a:r>
          </a:p>
        </p:txBody>
      </p:sp>
    </p:spTree>
    <p:extLst>
      <p:ext uri="{BB962C8B-B14F-4D97-AF65-F5344CB8AC3E}">
        <p14:creationId xmlns:p14="http://schemas.microsoft.com/office/powerpoint/2010/main" val="518744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88BC3-A4C1-A6B4-9A88-900341691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5B2A6BF-564C-1B26-82AB-3EDC5D57C84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714CA5C-BF71-689B-D9B0-ECAA21EA2C7E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FB2ED2-AA4F-0327-F0FF-A3CB58CDCC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0" y="-164554"/>
            <a:ext cx="5869483" cy="5308054"/>
          </a:xfrm>
          <a:prstGeom prst="rect">
            <a:avLst/>
          </a:prstGeom>
        </p:spPr>
      </p:pic>
      <p:pic>
        <p:nvPicPr>
          <p:cNvPr id="15" name="Picture 14" descr="A map of europe with different colored pins&#10;&#10;AI-generated content may be incorrect.">
            <a:extLst>
              <a:ext uri="{FF2B5EF4-FFF2-40B4-BE49-F238E27FC236}">
                <a16:creationId xmlns:a16="http://schemas.microsoft.com/office/drawing/2014/main" id="{C62C2B82-09AE-1061-E224-B664B2263C8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rcRect l="8429" r="19166" b="14702"/>
          <a:stretch>
            <a:fillRect/>
          </a:stretch>
        </p:blipFill>
        <p:spPr>
          <a:xfrm>
            <a:off x="5726436" y="1491631"/>
            <a:ext cx="3094037" cy="2884571"/>
          </a:xfrm>
          <a:prstGeom prst="rect">
            <a:avLst/>
          </a:prstGeom>
        </p:spPr>
      </p:pic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B9CE4B3-4703-3D3B-BD75-F145D4D8F0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707" y="4160178"/>
            <a:ext cx="2214246" cy="432048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l">
              <a:lnSpc>
                <a:spcPct val="120000"/>
              </a:lnSpc>
            </a:pPr>
            <a:r>
              <a:rPr lang="en-GB" sz="2000" b="1" dirty="0">
                <a:solidFill>
                  <a:srgbClr val="1AA9B2"/>
                </a:solidFill>
                <a:latin typeface="Ubuntu" panose="020B0504030602030204" pitchFamily="34" charset="0"/>
              </a:rPr>
              <a:t>21 Partnerships since 2016</a:t>
            </a:r>
            <a:endParaRPr lang="en-GB" sz="2000" dirty="0">
              <a:latin typeface="Ubuntu" panose="020B0504030602030204" pitchFamily="34" charset="0"/>
            </a:endParaRPr>
          </a:p>
          <a:p>
            <a:pPr marL="457189" indent="-457189" algn="l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GB" sz="20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7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2"/>
          <p:cNvSpPr txBox="1">
            <a:spLocks noGrp="1"/>
          </p:cNvSpPr>
          <p:nvPr>
            <p:ph type="subTitle" idx="1"/>
          </p:nvPr>
        </p:nvSpPr>
        <p:spPr>
          <a:xfrm>
            <a:off x="428705" y="3322008"/>
            <a:ext cx="3182983" cy="36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ola Lepori, Senior Expert Biodiversity &amp; Nature-based Solutions, ICLEI Europe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>
            <a:extLst>
              <a:ext uri="{FF2B5EF4-FFF2-40B4-BE49-F238E27FC236}">
                <a16:creationId xmlns:a16="http://schemas.microsoft.com/office/drawing/2014/main" id="{FD0B1D67-9DBB-A4A5-6D65-77A644136071}"/>
              </a:ext>
            </a:extLst>
          </p:cNvPr>
          <p:cNvSpPr txBox="1">
            <a:spLocks/>
          </p:cNvSpPr>
          <p:nvPr/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Why green infrastructure matters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624D503-2D06-E1CE-B9B1-ED48E511E31A}"/>
              </a:ext>
            </a:extLst>
          </p:cNvPr>
          <p:cNvSpPr txBox="1">
            <a:spLocks/>
          </p:cNvSpPr>
          <p:nvPr/>
        </p:nvSpPr>
        <p:spPr>
          <a:xfrm>
            <a:off x="532800" y="4767263"/>
            <a:ext cx="1465049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3296771-76B4-4B20-B64B-84032F8FAFE9}" type="datetime1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/10/2025</a:t>
            </a:fld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69D439B-AC20-9535-36AD-BDB3A5A8FD59}"/>
              </a:ext>
            </a:extLst>
          </p:cNvPr>
          <p:cNvSpPr txBox="1">
            <a:spLocks/>
          </p:cNvSpPr>
          <p:nvPr/>
        </p:nvSpPr>
        <p:spPr>
          <a:xfrm>
            <a:off x="7561089" y="4767263"/>
            <a:ext cx="138120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BC67708-1034-449E-BA7A-23703E633FE3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1</a:t>
            </a:fld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44CB258B-32C6-841A-8631-D9AF8D04CE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800" y="1339003"/>
            <a:ext cx="7789790" cy="216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900"/>
              <a:buFont typeface="Verdana"/>
              <a:buNone/>
              <a:defRPr sz="1400" b="0" i="0" u="none" strike="noStrike" cap="none">
                <a:solidFill>
                  <a:schemeClr val="bg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Cities worldwide face heat, flooding, biodiversity los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Green infrastructure is no longer optional: it’s essential for resilience, health, and climate neutrality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The challenge now: scaling and embedding GI in governance and finance.</a:t>
            </a:r>
          </a:p>
        </p:txBody>
      </p:sp>
    </p:spTree>
    <p:extLst>
      <p:ext uri="{BB962C8B-B14F-4D97-AF65-F5344CB8AC3E}">
        <p14:creationId xmlns:p14="http://schemas.microsoft.com/office/powerpoint/2010/main" val="36209089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AC579B-D04F-645F-F85E-71612F30B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753F2B6A-2764-99B5-5267-D5E3A5986183}"/>
              </a:ext>
            </a:extLst>
          </p:cNvPr>
          <p:cNvSpPr txBox="1">
            <a:spLocks/>
          </p:cNvSpPr>
          <p:nvPr/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Europe’s leadership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938E5F6-F1F9-C9CB-7AEB-AD16E7A9A627}"/>
              </a:ext>
            </a:extLst>
          </p:cNvPr>
          <p:cNvSpPr txBox="1">
            <a:spLocks/>
          </p:cNvSpPr>
          <p:nvPr/>
        </p:nvSpPr>
        <p:spPr>
          <a:xfrm>
            <a:off x="532800" y="4767263"/>
            <a:ext cx="1465049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3296771-76B4-4B20-B64B-84032F8FAFE9}" type="datetime1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/10/2025</a:t>
            </a:fld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4895B04-6E17-4CF6-F764-FDDF5DA74805}"/>
              </a:ext>
            </a:extLst>
          </p:cNvPr>
          <p:cNvSpPr txBox="1">
            <a:spLocks/>
          </p:cNvSpPr>
          <p:nvPr/>
        </p:nvSpPr>
        <p:spPr>
          <a:xfrm>
            <a:off x="7561089" y="4767263"/>
            <a:ext cx="138120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BC67708-1034-449E-BA7A-23703E633FE3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2</a:t>
            </a:fld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2636D5C6-BE53-A60A-9487-C6A26D6005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1" y="1339201"/>
            <a:ext cx="8075908" cy="216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900"/>
              <a:buFont typeface="Verdana"/>
              <a:buNone/>
              <a:defRPr sz="1400" b="0" i="0" u="none" strike="noStrike" cap="none">
                <a:solidFill>
                  <a:schemeClr val="bg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EU strategies: Biodiversity Strategy, Climate Adaptation, Nature Restoration Regulation (NRR)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ICLEI helps shape and implement these framework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Examples: Berlin Urban Nature Pact (ambitious biodiversity targets) + UNP+ project (practical planning tools).</a:t>
            </a:r>
          </a:p>
        </p:txBody>
      </p:sp>
    </p:spTree>
    <p:extLst>
      <p:ext uri="{BB962C8B-B14F-4D97-AF65-F5344CB8AC3E}">
        <p14:creationId xmlns:p14="http://schemas.microsoft.com/office/powerpoint/2010/main" val="17132741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1DC65C-0BEE-4F62-98C0-908E8FF9C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>
            <a:extLst>
              <a:ext uri="{FF2B5EF4-FFF2-40B4-BE49-F238E27FC236}">
                <a16:creationId xmlns:a16="http://schemas.microsoft.com/office/drawing/2014/main" id="{D725FD10-AAF3-F1B3-42CC-9F044B359BB0}"/>
              </a:ext>
            </a:extLst>
          </p:cNvPr>
          <p:cNvSpPr txBox="1">
            <a:spLocks/>
          </p:cNvSpPr>
          <p:nvPr/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A global movement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8C85098-23F5-C08B-090A-F0DF888F543E}"/>
              </a:ext>
            </a:extLst>
          </p:cNvPr>
          <p:cNvSpPr txBox="1">
            <a:spLocks/>
          </p:cNvSpPr>
          <p:nvPr/>
        </p:nvSpPr>
        <p:spPr>
          <a:xfrm>
            <a:off x="532800" y="4767263"/>
            <a:ext cx="1465049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3296771-76B4-4B20-B64B-84032F8FAFE9}" type="datetime1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/10/2025</a:t>
            </a:fld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C26EC18-E65A-2BEA-6EE4-3533EA663621}"/>
              </a:ext>
            </a:extLst>
          </p:cNvPr>
          <p:cNvSpPr txBox="1">
            <a:spLocks/>
          </p:cNvSpPr>
          <p:nvPr/>
        </p:nvSpPr>
        <p:spPr>
          <a:xfrm>
            <a:off x="7561089" y="4767263"/>
            <a:ext cx="138120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BC67708-1034-449E-BA7A-23703E633FE3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3</a:t>
            </a:fld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5663D2E-5E77-B0F9-1C62-BAD091166F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0" y="1546951"/>
            <a:ext cx="8106905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900"/>
              <a:buFont typeface="Verdana"/>
              <a:buNone/>
              <a:defRPr sz="1400" b="0" i="0" u="none" strike="noStrike" cap="none">
                <a:solidFill>
                  <a:schemeClr val="bg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From sponge cities in China to urban restoration in Latin America, GI is spreading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Next milestone: CBD COP-17 in Armenia → cities’ voices matter, ICLEI will lead Cities Summit.</a:t>
            </a:r>
            <a:endParaRPr kumimoji="0" lang="en-US" altLang="en-US" sz="1800" b="0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141600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A801D2-EDC1-DD7F-E659-80FEC865D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>
            <a:extLst>
              <a:ext uri="{FF2B5EF4-FFF2-40B4-BE49-F238E27FC236}">
                <a16:creationId xmlns:a16="http://schemas.microsoft.com/office/drawing/2014/main" id="{00A09EB6-6617-EB43-315B-850C3F2C3FB6}"/>
              </a:ext>
            </a:extLst>
          </p:cNvPr>
          <p:cNvSpPr txBox="1">
            <a:spLocks/>
          </p:cNvSpPr>
          <p:nvPr/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Financing the transition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22D16A99-0BA0-8287-1FB1-42339DD87451}"/>
              </a:ext>
            </a:extLst>
          </p:cNvPr>
          <p:cNvSpPr txBox="1">
            <a:spLocks/>
          </p:cNvSpPr>
          <p:nvPr/>
        </p:nvSpPr>
        <p:spPr>
          <a:xfrm>
            <a:off x="532800" y="4767263"/>
            <a:ext cx="1465049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3296771-76B4-4B20-B64B-84032F8FAFE9}" type="datetime1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/10/2025</a:t>
            </a:fld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C56F014-13E6-3835-12AA-094764B2E9E4}"/>
              </a:ext>
            </a:extLst>
          </p:cNvPr>
          <p:cNvSpPr txBox="1">
            <a:spLocks/>
          </p:cNvSpPr>
          <p:nvPr/>
        </p:nvSpPr>
        <p:spPr>
          <a:xfrm>
            <a:off x="7561089" y="4767263"/>
            <a:ext cx="138120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BC67708-1034-449E-BA7A-23703E633FE3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4</a:t>
            </a:fld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0ED6807-E305-05E1-08F0-8F2827B9AF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0" y="1754700"/>
            <a:ext cx="8106905" cy="1338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900"/>
              <a:buFont typeface="Verdana"/>
              <a:buNone/>
              <a:defRPr sz="1400" b="0" i="0" u="none" strike="noStrike" cap="none">
                <a:solidFill>
                  <a:schemeClr val="bg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Scaling GI requires investment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ICLEI exploring “nature markets” to pool resources and de-risk projec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Goal: shift from pilots to systemic implementation.</a:t>
            </a:r>
            <a:endParaRPr kumimoji="0" lang="en-US" altLang="en-US" sz="1800" b="0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71650999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F4CF5-DC7B-739D-CEBC-2867EBB79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>
            <a:extLst>
              <a:ext uri="{FF2B5EF4-FFF2-40B4-BE49-F238E27FC236}">
                <a16:creationId xmlns:a16="http://schemas.microsoft.com/office/drawing/2014/main" id="{4C190E86-A512-D898-DE4E-8308E5AF4F28}"/>
              </a:ext>
            </a:extLst>
          </p:cNvPr>
          <p:cNvSpPr txBox="1">
            <a:spLocks/>
          </p:cNvSpPr>
          <p:nvPr/>
        </p:nvSpPr>
        <p:spPr>
          <a:xfrm>
            <a:off x="532800" y="367200"/>
            <a:ext cx="6145625" cy="59228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ICLEI’s role &amp; call to action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9758E18-AD69-8D75-92FD-58CEA70371F7}"/>
              </a:ext>
            </a:extLst>
          </p:cNvPr>
          <p:cNvSpPr txBox="1">
            <a:spLocks/>
          </p:cNvSpPr>
          <p:nvPr/>
        </p:nvSpPr>
        <p:spPr>
          <a:xfrm>
            <a:off x="532800" y="4767263"/>
            <a:ext cx="1465049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3296771-76B4-4B20-B64B-84032F8FAFE9}" type="datetime1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/10/2025</a:t>
            </a:fld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0F8D281-BB1F-9340-E53B-B5CCCF33FA69}"/>
              </a:ext>
            </a:extLst>
          </p:cNvPr>
          <p:cNvSpPr txBox="1">
            <a:spLocks/>
          </p:cNvSpPr>
          <p:nvPr/>
        </p:nvSpPr>
        <p:spPr>
          <a:xfrm>
            <a:off x="7561089" y="4767263"/>
            <a:ext cx="1381204" cy="287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BC67708-1034-449E-BA7A-23703E633FE3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636C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5</a:t>
            </a:fld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636C">
                  <a:tint val="75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0F11829-6931-73E9-8705-7313791965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0" y="1339201"/>
            <a:ext cx="8106905" cy="216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900"/>
              <a:buFont typeface="Verdana"/>
              <a:buNone/>
              <a:defRPr sz="1400" b="0" i="0" u="none" strike="noStrike" cap="none">
                <a:solidFill>
                  <a:schemeClr val="bg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●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○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■"/>
              <a:defRPr sz="9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ICLEI connects local governments to EU and global processes (CitiesWithNature, NetworkNature)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Mission: ensure cities have the tools, resources, and influence to make GI a pillar of climate-neutral, resilient, and just citie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800" b="0" i="0" u="none" strike="noStrike" kern="0" cap="none" spc="0" normalizeH="0" baseline="0" noProof="0">
                <a:ln>
                  <a:noFill/>
                </a:ln>
                <a:solidFill>
                  <a:srgbClr val="00636C"/>
                </a:solidFill>
                <a:effectLst/>
                <a:uLnTx/>
                <a:uFillTx/>
                <a:latin typeface="Arial" panose="020B0604020202020204" pitchFamily="34" charset="0"/>
                <a:ea typeface="Verdana"/>
                <a:cs typeface="Verdana"/>
                <a:sym typeface="Verdana"/>
              </a:rPr>
              <a:t>Reflection: Now is the moment to turn ambition into lasting transformation.</a:t>
            </a:r>
            <a:endParaRPr kumimoji="0" lang="en-US" altLang="en-US" sz="1800" b="0" i="0" u="none" strike="noStrike" kern="0" cap="none" spc="0" normalizeH="0" baseline="0" noProof="0" dirty="0">
              <a:ln>
                <a:noFill/>
              </a:ln>
              <a:solidFill>
                <a:srgbClr val="00636C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73159850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3463C9F-8F01-4C92-ADFB-8048EAEA6D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9B61F4-344A-4D45-AFEF-1FB49F6C1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636C"/>
                </a:solidFill>
              </a:rPr>
              <a:t>5 ICLEI Pathway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CE2066-2FB8-4222-B5E5-190C6AEE83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3296771-76B4-4B20-B64B-84032F8FAFE9}" type="datetime1">
              <a:rPr lang="en-GB" smtClean="0"/>
              <a:t>15/10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8A874C-84A0-42BF-814E-5F1305B8AD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B6B7D0-52EA-4E72-97F7-7BF46B431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BC67708-1034-449E-BA7A-23703E633FE3}" type="slidenum">
              <a:rPr lang="en-GB" smtClean="0"/>
              <a:t>4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5611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674E7-1DC0-4DEC-80AC-F5767E27B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LEI around the World</a:t>
            </a:r>
          </a:p>
        </p:txBody>
      </p:sp>
    </p:spTree>
    <p:extLst>
      <p:ext uri="{BB962C8B-B14F-4D97-AF65-F5344CB8AC3E}">
        <p14:creationId xmlns:p14="http://schemas.microsoft.com/office/powerpoint/2010/main" val="364093105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30"/>
          <p:cNvSpPr txBox="1">
            <a:spLocks noGrp="1"/>
          </p:cNvSpPr>
          <p:nvPr>
            <p:ph type="body" idx="1"/>
          </p:nvPr>
        </p:nvSpPr>
        <p:spPr>
          <a:xfrm>
            <a:off x="531775" y="810000"/>
            <a:ext cx="6130800" cy="57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endParaRPr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2800" y="367200"/>
            <a:ext cx="6145625" cy="592282"/>
          </a:xfrm>
        </p:spPr>
        <p:txBody>
          <a:bodyPr/>
          <a:lstStyle/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</p:spPr>
        <p:txBody>
          <a:bodyPr/>
          <a:lstStyle/>
          <a:p>
            <a:fld id="{43A636C3-5019-44D0-B339-BAB52C6F00BE}" type="datetime1">
              <a:rPr lang="en-GB" smtClean="0"/>
              <a:t>15/10/202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28949" y="4767263"/>
            <a:ext cx="3510395" cy="28733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24172" y="4779963"/>
            <a:ext cx="2057400" cy="274637"/>
          </a:xfrm>
        </p:spPr>
        <p:txBody>
          <a:bodyPr/>
          <a:lstStyle/>
          <a:p>
            <a:fld id="{9BC67708-1034-449E-BA7A-23703E633FE3}" type="slidenum">
              <a:rPr lang="en-GB" smtClean="0"/>
              <a:t>48</a:t>
            </a:fld>
            <a:endParaRPr lang="en-GB"/>
          </a:p>
        </p:txBody>
      </p:sp>
      <p:sp>
        <p:nvSpPr>
          <p:cNvPr id="2" name="Rectangle 1"/>
          <p:cNvSpPr/>
          <p:nvPr/>
        </p:nvSpPr>
        <p:spPr>
          <a:xfrm>
            <a:off x="4454820" y="2417862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 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29"/>
          <p:cNvSpPr txBox="1">
            <a:spLocks noGrp="1"/>
          </p:cNvSpPr>
          <p:nvPr>
            <p:ph type="title"/>
          </p:nvPr>
        </p:nvSpPr>
        <p:spPr>
          <a:xfrm>
            <a:off x="516950" y="335125"/>
            <a:ext cx="5326500" cy="126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GB" dirty="0"/>
              <a:t>Thank you!</a:t>
            </a:r>
            <a:endParaRPr dirty="0"/>
          </a:p>
        </p:txBody>
      </p:sp>
      <p:sp>
        <p:nvSpPr>
          <p:cNvPr id="295" name="Google Shape;295;p29"/>
          <p:cNvSpPr txBox="1">
            <a:spLocks noGrp="1"/>
          </p:cNvSpPr>
          <p:nvPr>
            <p:ph type="subTitle"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4872D2-492F-7640-B62F-2160D7BDE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E5440B-8388-8381-9116-2508CC1219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3" name="Picture 2" descr="A group of people sitting in a room&#10;&#10;AI-generated content may be incorrect.">
            <a:extLst>
              <a:ext uri="{FF2B5EF4-FFF2-40B4-BE49-F238E27FC236}">
                <a16:creationId xmlns:a16="http://schemas.microsoft.com/office/drawing/2014/main" id="{63421155-CF88-A75A-7041-2E51BF6A14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759" b="15303"/>
          <a:stretch>
            <a:fillRect/>
          </a:stretch>
        </p:blipFill>
        <p:spPr>
          <a:xfrm>
            <a:off x="0" y="-14926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4272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78D345-2403-407A-B293-E2581487FB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paola.lepori@iclei.org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280780-C280-4779-BCD6-C94350203295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383B74-C381-4BBB-8B3F-B699535FE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 us</a:t>
            </a:r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tretch>
            <a:fillRect/>
          </a:stretch>
        </p:blipFill>
        <p:spPr>
          <a:xfrm>
            <a:off x="5170224" y="1354336"/>
            <a:ext cx="3016401" cy="2853768"/>
          </a:xfrm>
        </p:spPr>
      </p:pic>
    </p:spTree>
    <p:extLst>
      <p:ext uri="{BB962C8B-B14F-4D97-AF65-F5344CB8AC3E}">
        <p14:creationId xmlns:p14="http://schemas.microsoft.com/office/powerpoint/2010/main" val="28024226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CDCA79-CBED-98FC-FBDC-2614980CC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04614CB-B573-4382-9D79-EF82D644EA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6016" y="1830793"/>
            <a:ext cx="4248472" cy="1317021"/>
          </a:xfrm>
          <a:prstGeom prst="rect">
            <a:avLst/>
          </a:prstGeom>
          <a:noFill/>
          <a:ln w="25400" cap="flat" cmpd="sng" algn="ctr">
            <a:solidFill>
              <a:srgbClr val="FFFFFF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F34F24"/>
                </a:solidFill>
                <a:latin typeface="Ubuntu" panose="020B0504030602030204" pitchFamily="34" charset="0"/>
              </a:rPr>
              <a:t>Which of the following questions would you like the speakers to explore further? Rank the ques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AE4035-34CE-AB1D-6375-983004372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089" y="843558"/>
            <a:ext cx="3769887" cy="3769887"/>
          </a:xfrm>
          <a:prstGeom prst="rect">
            <a:avLst/>
          </a:prstGeom>
        </p:spPr>
      </p:pic>
      <p:sp>
        <p:nvSpPr>
          <p:cNvPr id="6" name="ZoneTexte 1">
            <a:extLst>
              <a:ext uri="{FF2B5EF4-FFF2-40B4-BE49-F238E27FC236}">
                <a16:creationId xmlns:a16="http://schemas.microsoft.com/office/drawing/2014/main" id="{6D448C14-0481-BE71-A2EB-B171F8067B7A}"/>
              </a:ext>
            </a:extLst>
          </p:cNvPr>
          <p:cNvSpPr txBox="1"/>
          <p:nvPr/>
        </p:nvSpPr>
        <p:spPr>
          <a:xfrm>
            <a:off x="4499992" y="3447100"/>
            <a:ext cx="4320480" cy="1166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rgbClr val="4B7BBC"/>
                </a:solidFill>
                <a:latin typeface="Ubuntu" panose="020B0504030602030204" pitchFamily="34" charset="0"/>
                <a:hlinkClick r:id="rId4"/>
              </a:rPr>
              <a:t>www.slido.com</a:t>
            </a:r>
            <a:endParaRPr lang="en-US" sz="3200" b="1" dirty="0">
              <a:solidFill>
                <a:srgbClr val="4B7BBC"/>
              </a:solidFill>
              <a:latin typeface="Ubuntu" panose="020B0504030602030204" pitchFamily="34" charset="0"/>
            </a:endParaRPr>
          </a:p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#greening</a:t>
            </a:r>
            <a:endParaRPr lang="en-US" sz="3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A9C719-6236-2856-3060-1F1F47677FE9}"/>
              </a:ext>
            </a:extLst>
          </p:cNvPr>
          <p:cNvSpPr/>
          <p:nvPr/>
        </p:nvSpPr>
        <p:spPr>
          <a:xfrm>
            <a:off x="5057932" y="754779"/>
            <a:ext cx="1842515" cy="62806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5" name="Flowchart: Delay 7">
            <a:extLst>
              <a:ext uri="{FF2B5EF4-FFF2-40B4-BE49-F238E27FC236}">
                <a16:creationId xmlns:a16="http://schemas.microsoft.com/office/drawing/2014/main" id="{B34066B6-5346-0B81-AA57-033DE26B641C}"/>
              </a:ext>
            </a:extLst>
          </p:cNvPr>
          <p:cNvSpPr/>
          <p:nvPr/>
        </p:nvSpPr>
        <p:spPr>
          <a:xfrm>
            <a:off x="6866127" y="754779"/>
            <a:ext cx="537494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7" name="Flowchart: Delay 7">
            <a:extLst>
              <a:ext uri="{FF2B5EF4-FFF2-40B4-BE49-F238E27FC236}">
                <a16:creationId xmlns:a16="http://schemas.microsoft.com/office/drawing/2014/main" id="{9B9F777B-33B5-B0E1-9F96-A536BA10CFF2}"/>
              </a:ext>
            </a:extLst>
          </p:cNvPr>
          <p:cNvSpPr/>
          <p:nvPr/>
        </p:nvSpPr>
        <p:spPr>
          <a:xfrm flipH="1">
            <a:off x="4697099" y="754779"/>
            <a:ext cx="514308" cy="62806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3AFA2E3-9034-7FB0-0609-7076ED743EA3}"/>
              </a:ext>
            </a:extLst>
          </p:cNvPr>
          <p:cNvSpPr>
            <a:spLocks noGrp="1"/>
          </p:cNvSpPr>
          <p:nvPr/>
        </p:nvSpPr>
        <p:spPr>
          <a:xfrm>
            <a:off x="5004048" y="677689"/>
            <a:ext cx="2585985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>
                <a:solidFill>
                  <a:schemeClr val="bg1"/>
                </a:solidFill>
                <a:latin typeface="Ubuntu" panose="020B0504030602030204" pitchFamily="34" charset="0"/>
              </a:rPr>
              <a:t>Slido</a:t>
            </a:r>
            <a:r>
              <a:rPr lang="en-GB" sz="2400" dirty="0">
                <a:solidFill>
                  <a:schemeClr val="bg1"/>
                </a:solidFill>
                <a:latin typeface="Ubuntu" panose="020B0504030602030204" pitchFamily="34" charset="0"/>
              </a:rPr>
              <a:t> poll #2 </a:t>
            </a:r>
          </a:p>
        </p:txBody>
      </p:sp>
    </p:spTree>
    <p:extLst>
      <p:ext uri="{BB962C8B-B14F-4D97-AF65-F5344CB8AC3E}">
        <p14:creationId xmlns:p14="http://schemas.microsoft.com/office/powerpoint/2010/main" val="127407004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AAEC20-DF0A-3AB0-43F2-AB50E8E1C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D2CF148-6C18-E2BC-060B-28F0741F1F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A30783D-363B-DF3A-37B7-9459CDFBB9C4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" name="Picture 3" descr="A planter with plants on the side&#10;&#10;AI-generated content may be incorrect.">
            <a:extLst>
              <a:ext uri="{FF2B5EF4-FFF2-40B4-BE49-F238E27FC236}">
                <a16:creationId xmlns:a16="http://schemas.microsoft.com/office/drawing/2014/main" id="{1F62F4CA-EAB3-02BD-B9A1-E87B4A443C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95" r="1081"/>
          <a:stretch>
            <a:fillRect/>
          </a:stretch>
        </p:blipFill>
        <p:spPr>
          <a:xfrm>
            <a:off x="7014677" y="-20538"/>
            <a:ext cx="2455155" cy="5524078"/>
          </a:xfrm>
          <a:prstGeom prst="rect">
            <a:avLst/>
          </a:prstGeom>
        </p:spPr>
      </p:pic>
      <p:pic>
        <p:nvPicPr>
          <p:cNvPr id="5" name="Picture 4" descr="A building with green plants on top of it&#10;&#10;AI-generated content may be incorrect.">
            <a:extLst>
              <a:ext uri="{FF2B5EF4-FFF2-40B4-BE49-F238E27FC236}">
                <a16:creationId xmlns:a16="http://schemas.microsoft.com/office/drawing/2014/main" id="{D5E27734-AA04-0864-A481-0AB750A1BB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0264"/>
          <a:stretch>
            <a:fillRect/>
          </a:stretch>
        </p:blipFill>
        <p:spPr>
          <a:xfrm>
            <a:off x="2263017" y="2"/>
            <a:ext cx="2455145" cy="5524077"/>
          </a:xfrm>
          <a:prstGeom prst="rect">
            <a:avLst/>
          </a:prstGeom>
        </p:spPr>
      </p:pic>
      <p:pic>
        <p:nvPicPr>
          <p:cNvPr id="6" name="Picture 5" descr="A building with plants growing on the side&#10;&#10;AI-generated content may be incorrect.">
            <a:extLst>
              <a:ext uri="{FF2B5EF4-FFF2-40B4-BE49-F238E27FC236}">
                <a16:creationId xmlns:a16="http://schemas.microsoft.com/office/drawing/2014/main" id="{137319C8-12E2-4165-22E8-FC792D7CD5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91" r="-636"/>
          <a:stretch>
            <a:fillRect/>
          </a:stretch>
        </p:blipFill>
        <p:spPr>
          <a:xfrm flipH="1">
            <a:off x="-155266" y="0"/>
            <a:ext cx="2483171" cy="5524078"/>
          </a:xfrm>
          <a:prstGeom prst="rect">
            <a:avLst/>
          </a:prstGeom>
        </p:spPr>
      </p:pic>
      <p:pic>
        <p:nvPicPr>
          <p:cNvPr id="7" name="Picture 6" descr="A river with trees and people in it&#10;&#10;AI-generated content may be incorrect.">
            <a:extLst>
              <a:ext uri="{FF2B5EF4-FFF2-40B4-BE49-F238E27FC236}">
                <a16:creationId xmlns:a16="http://schemas.microsoft.com/office/drawing/2014/main" id="{CF3CF513-4FBE-909B-82AA-3C353C5B94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2" r="26472" b="20377"/>
          <a:stretch>
            <a:fillRect/>
          </a:stretch>
        </p:blipFill>
        <p:spPr>
          <a:xfrm>
            <a:off x="4630243" y="0"/>
            <a:ext cx="2455155" cy="552407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8E9E98B-B0A6-5B21-C694-FAD9A77ED4CE}"/>
              </a:ext>
            </a:extLst>
          </p:cNvPr>
          <p:cNvGrpSpPr/>
          <p:nvPr/>
        </p:nvGrpSpPr>
        <p:grpSpPr>
          <a:xfrm>
            <a:off x="7819597" y="429047"/>
            <a:ext cx="956685" cy="956685"/>
            <a:chOff x="11004300" y="184305"/>
            <a:chExt cx="1187700" cy="11877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9181D3F-3694-89A3-DD54-3E25F20FD55F}"/>
                </a:ext>
              </a:extLst>
            </p:cNvPr>
            <p:cNvSpPr/>
            <p:nvPr/>
          </p:nvSpPr>
          <p:spPr>
            <a:xfrm>
              <a:off x="11004300" y="184305"/>
              <a:ext cx="1187700" cy="11877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R" sz="240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B858044-0CF2-C2C4-A800-4F1C4573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58150" y="238155"/>
              <a:ext cx="1080000" cy="1080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121F7E4-10CE-4355-941C-74C2BC02FD99}"/>
              </a:ext>
            </a:extLst>
          </p:cNvPr>
          <p:cNvSpPr/>
          <p:nvPr/>
        </p:nvSpPr>
        <p:spPr>
          <a:xfrm>
            <a:off x="2058602" y="4222944"/>
            <a:ext cx="6654869" cy="569148"/>
          </a:xfrm>
          <a:prstGeom prst="roundRect">
            <a:avLst/>
          </a:prstGeom>
          <a:solidFill>
            <a:srgbClr val="0DD7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Ubuntu" panose="020B0504030602030204" pitchFamily="34" charset="0"/>
              </a:rPr>
              <a:t>How do we make our cities greener?</a:t>
            </a:r>
            <a:endParaRPr lang="en-GR" sz="2800" b="1" dirty="0">
              <a:solidFill>
                <a:schemeClr val="bg1"/>
              </a:solidFill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0784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572F8AB-E2DC-A765-00C9-9AC87C7E0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169EA23-A4F4-D9D4-882B-C1447BEA0A78}"/>
              </a:ext>
            </a:extLst>
          </p:cNvPr>
          <p:cNvSpPr txBox="1">
            <a:spLocks/>
          </p:cNvSpPr>
          <p:nvPr/>
        </p:nvSpPr>
        <p:spPr>
          <a:xfrm>
            <a:off x="467544" y="438002"/>
            <a:ext cx="7847661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>
                <a:latin typeface="Ubuntu" panose="020B0504030602030204" pitchFamily="34" charset="0"/>
              </a:rPr>
              <a:t>Interactive </a:t>
            </a:r>
            <a:r>
              <a:rPr lang="ro-RO" sz="2400" dirty="0" err="1">
                <a:latin typeface="Ubuntu" panose="020B0504030602030204" pitchFamily="34" charset="0"/>
              </a:rPr>
              <a:t>discussion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with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invited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speakers</a:t>
            </a:r>
            <a:endParaRPr lang="en-GB" sz="2400" dirty="0">
              <a:latin typeface="Ubuntu" panose="020B0504030602030204" pitchFamily="34" charset="0"/>
            </a:endParaRPr>
          </a:p>
        </p:txBody>
      </p:sp>
      <p:sp>
        <p:nvSpPr>
          <p:cNvPr id="8" name="ZoneTexte 1">
            <a:extLst>
              <a:ext uri="{FF2B5EF4-FFF2-40B4-BE49-F238E27FC236}">
                <a16:creationId xmlns:a16="http://schemas.microsoft.com/office/drawing/2014/main" id="{7736145A-B819-6ECF-942D-1ACB3781012A}"/>
              </a:ext>
            </a:extLst>
          </p:cNvPr>
          <p:cNvSpPr txBox="1"/>
          <p:nvPr/>
        </p:nvSpPr>
        <p:spPr>
          <a:xfrm>
            <a:off x="1043608" y="1419622"/>
            <a:ext cx="7847661" cy="2607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089" lvl="1" indent="-342900">
              <a:lnSpc>
                <a:spcPct val="115000"/>
              </a:lnSpc>
              <a:buAutoNum type="arabicPeriod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Yoann Clouet –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roject Manager at the </a:t>
            </a:r>
            <a:r>
              <a:rPr lang="en-US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nstitute for Urban Excellence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, expert at the ESPON GILL consortium.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endParaRPr lang="en-US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  <a:p>
            <a:pPr marL="800089" lvl="1" indent="-342900">
              <a:lnSpc>
                <a:spcPct val="115000"/>
              </a:lnSpc>
              <a:buAutoNum type="arabicPeriod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Bo </a:t>
            </a:r>
            <a:r>
              <a:rPr lang="en-US" b="1" dirty="0" err="1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Vanbesien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–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Greening Cities Partnership member,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r>
              <a:rPr lang="en-US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City of Roeselare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representative.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endParaRPr lang="en-US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  <a:p>
            <a:pPr marL="800089" lvl="1" indent="-342900">
              <a:lnSpc>
                <a:spcPct val="115000"/>
              </a:lnSpc>
              <a:buAutoNum type="arabicPeriod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aola Lepori –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Greening Cities Partnership member, 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</a:b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Policy Expert at 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the </a:t>
            </a:r>
            <a:r>
              <a:rPr lang="en-US" b="1" i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CLEI European Secretariat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084A70-D73F-C0AF-7E80-CF8490749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58" y="1342068"/>
            <a:ext cx="687154" cy="6871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EE5B225-3078-9C50-88A8-AE148C9E7A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58" y="3363838"/>
            <a:ext cx="620266" cy="81613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5572298-ACF7-6B08-C83C-88C67538A9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58" y="2307300"/>
            <a:ext cx="764282" cy="7642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7AF1C8-00F6-DFF0-4DB3-D4E04D93F7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63673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44B29-9703-8A95-D73A-412A6E8DC4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79F3EEC-74B8-DFBB-7C75-F96A660D1AD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300725" y="699542"/>
            <a:ext cx="5040560" cy="1317021"/>
          </a:xfrm>
          <a:prstGeom prst="rect">
            <a:avLst/>
          </a:prstGeom>
          <a:noFill/>
          <a:ln w="25400" cap="flat" cmpd="sng" algn="ctr">
            <a:solidFill>
              <a:srgbClr val="FFFFFF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>
                <a:solidFill>
                  <a:srgbClr val="F34F24"/>
                </a:solidFill>
                <a:latin typeface="Ubuntu" panose="020B0504030602030204" pitchFamily="34" charset="0"/>
              </a:rPr>
              <a:t>Questions for the audien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0B5E5A-505E-D292-6EEC-130BFF78106E}"/>
              </a:ext>
            </a:extLst>
          </p:cNvPr>
          <p:cNvSpPr txBox="1">
            <a:spLocks/>
          </p:cNvSpPr>
          <p:nvPr/>
        </p:nvSpPr>
        <p:spPr>
          <a:xfrm>
            <a:off x="1331640" y="2202418"/>
            <a:ext cx="5976565" cy="73866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AutoNum type="arabicPeriod"/>
            </a:pPr>
            <a:r>
              <a:rPr lang="en-GB" sz="20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What is missing</a:t>
            </a:r>
            <a:r>
              <a:rPr lang="en-GB" sz="2000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in current methods to quantify GI demand? </a:t>
            </a:r>
          </a:p>
          <a:p>
            <a:pPr marL="457200" indent="-457200">
              <a:buAutoNum type="arabicPeriod"/>
            </a:pPr>
            <a:r>
              <a:rPr lang="en-GB" sz="2000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What </a:t>
            </a:r>
            <a:r>
              <a:rPr lang="en-GB" sz="20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support</a:t>
            </a:r>
            <a:r>
              <a:rPr lang="en-GB" sz="2000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would help you turn data into action?</a:t>
            </a:r>
          </a:p>
        </p:txBody>
      </p:sp>
    </p:spTree>
    <p:extLst>
      <p:ext uri="{BB962C8B-B14F-4D97-AF65-F5344CB8AC3E}">
        <p14:creationId xmlns:p14="http://schemas.microsoft.com/office/powerpoint/2010/main" val="142171896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37299A-9900-D2B3-DD9D-D3C555A77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B15575-344F-4962-2949-AA69000231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089" y="843558"/>
            <a:ext cx="3769887" cy="3769887"/>
          </a:xfrm>
          <a:prstGeom prst="rect">
            <a:avLst/>
          </a:prstGeom>
        </p:spPr>
      </p:pic>
      <p:sp>
        <p:nvSpPr>
          <p:cNvPr id="6" name="ZoneTexte 1">
            <a:extLst>
              <a:ext uri="{FF2B5EF4-FFF2-40B4-BE49-F238E27FC236}">
                <a16:creationId xmlns:a16="http://schemas.microsoft.com/office/drawing/2014/main" id="{2ED8677F-174F-562C-EB99-31AAAC6A9BCD}"/>
              </a:ext>
            </a:extLst>
          </p:cNvPr>
          <p:cNvSpPr txBox="1"/>
          <p:nvPr/>
        </p:nvSpPr>
        <p:spPr>
          <a:xfrm>
            <a:off x="4499992" y="3447100"/>
            <a:ext cx="4320480" cy="1166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rgbClr val="4B7BBC"/>
                </a:solidFill>
                <a:latin typeface="Ubuntu" panose="020B0504030602030204" pitchFamily="34" charset="0"/>
                <a:hlinkClick r:id="rId3"/>
              </a:rPr>
              <a:t>www.slido.com</a:t>
            </a:r>
            <a:endParaRPr lang="en-US" sz="3200" b="1" dirty="0">
              <a:solidFill>
                <a:srgbClr val="4B7BBC"/>
              </a:solidFill>
              <a:latin typeface="Ubuntu" panose="020B0504030602030204" pitchFamily="34" charset="0"/>
            </a:endParaRPr>
          </a:p>
          <a:p>
            <a:pPr lvl="1">
              <a:lnSpc>
                <a:spcPct val="115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#greening</a:t>
            </a:r>
            <a:endParaRPr lang="en-US" sz="3200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FEC555-EA2B-F8C1-936D-802F81428559}"/>
              </a:ext>
            </a:extLst>
          </p:cNvPr>
          <p:cNvSpPr/>
          <p:nvPr/>
        </p:nvSpPr>
        <p:spPr>
          <a:xfrm>
            <a:off x="5220072" y="722558"/>
            <a:ext cx="2373856" cy="724781"/>
          </a:xfrm>
          <a:prstGeom prst="rect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5" name="Flowchart: Delay 7">
            <a:extLst>
              <a:ext uri="{FF2B5EF4-FFF2-40B4-BE49-F238E27FC236}">
                <a16:creationId xmlns:a16="http://schemas.microsoft.com/office/drawing/2014/main" id="{71A83BFF-0D74-DEFA-A73D-643908FFD1B0}"/>
              </a:ext>
            </a:extLst>
          </p:cNvPr>
          <p:cNvSpPr/>
          <p:nvPr/>
        </p:nvSpPr>
        <p:spPr>
          <a:xfrm>
            <a:off x="7555236" y="722558"/>
            <a:ext cx="537494" cy="72478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7" name="Flowchart: Delay 7">
            <a:extLst>
              <a:ext uri="{FF2B5EF4-FFF2-40B4-BE49-F238E27FC236}">
                <a16:creationId xmlns:a16="http://schemas.microsoft.com/office/drawing/2014/main" id="{D402B2DD-3C3C-23BA-3E31-F0AAED302732}"/>
              </a:ext>
            </a:extLst>
          </p:cNvPr>
          <p:cNvSpPr/>
          <p:nvPr/>
        </p:nvSpPr>
        <p:spPr>
          <a:xfrm flipH="1">
            <a:off x="4705764" y="722558"/>
            <a:ext cx="514308" cy="724781"/>
          </a:xfrm>
          <a:prstGeom prst="flowChartDelay">
            <a:avLst/>
          </a:prstGeom>
          <a:solidFill>
            <a:srgbClr val="AF5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B4653A9-427E-BFF7-4024-F369EEA182A5}"/>
              </a:ext>
            </a:extLst>
          </p:cNvPr>
          <p:cNvSpPr>
            <a:spLocks noGrp="1"/>
          </p:cNvSpPr>
          <p:nvPr/>
        </p:nvSpPr>
        <p:spPr>
          <a:xfrm>
            <a:off x="5298383" y="677689"/>
            <a:ext cx="2585985" cy="8018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>
                <a:solidFill>
                  <a:schemeClr val="bg1"/>
                </a:solidFill>
                <a:latin typeface="Ubuntu" panose="020B0504030602030204" pitchFamily="34" charset="0"/>
              </a:rPr>
              <a:t>Leave your contact details </a:t>
            </a:r>
          </a:p>
        </p:txBody>
      </p:sp>
    </p:spTree>
    <p:extLst>
      <p:ext uri="{BB962C8B-B14F-4D97-AF65-F5344CB8AC3E}">
        <p14:creationId xmlns:p14="http://schemas.microsoft.com/office/powerpoint/2010/main" val="222777097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5DA8F-98EB-F3EB-52F2-E83B18C8D4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6B4ED02-8912-BA3D-7D16-6FF26C6AB91F}"/>
              </a:ext>
            </a:extLst>
          </p:cNvPr>
          <p:cNvSpPr txBox="1"/>
          <p:nvPr/>
        </p:nvSpPr>
        <p:spPr>
          <a:xfrm>
            <a:off x="5241370" y="692344"/>
            <a:ext cx="1793304" cy="1089529"/>
          </a:xfrm>
          <a:prstGeom prst="rect">
            <a:avLst/>
          </a:prstGeom>
          <a:noFill/>
          <a:ln>
            <a:solidFill>
              <a:srgbClr val="F7964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2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ead t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2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ews &amp; Event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2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or </a:t>
            </a:r>
            <a:r>
              <a:rPr kumimoji="0" lang="fr-FR" sz="162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pportunities</a:t>
            </a:r>
            <a:r>
              <a:rPr kumimoji="0" lang="fr-FR" sz="162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to </a:t>
            </a:r>
            <a:r>
              <a:rPr kumimoji="0" lang="fr-FR" sz="162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t</a:t>
            </a:r>
            <a:r>
              <a:rPr kumimoji="0" lang="fr-FR" sz="162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fr-FR" sz="162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volved</a:t>
            </a:r>
            <a:endParaRPr kumimoji="0" lang="en-GB" sz="162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33F787-49E0-8B24-DC67-43C801953FD8}"/>
              </a:ext>
            </a:extLst>
          </p:cNvPr>
          <p:cNvSpPr txBox="1"/>
          <p:nvPr/>
        </p:nvSpPr>
        <p:spPr>
          <a:xfrm>
            <a:off x="4997951" y="2405487"/>
            <a:ext cx="272190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ere’s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ere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e’ll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clude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 updates on the </a:t>
            </a: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ethodology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and workshops </a:t>
            </a: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ere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you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can input </a:t>
            </a:r>
            <a:r>
              <a:rPr kumimoji="0" lang="fr-FR" sz="162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to</a:t>
            </a:r>
            <a:r>
              <a:rPr kumimoji="0" lang="fr-FR" sz="162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lang="fr-FR" sz="1620" i="1" kern="0" dirty="0" err="1">
                <a:solidFill>
                  <a:prstClr val="black"/>
                </a:solidFill>
              </a:rPr>
              <a:t>Greening</a:t>
            </a:r>
            <a:r>
              <a:rPr lang="fr-FR" sz="1620" i="1" kern="0" dirty="0">
                <a:solidFill>
                  <a:prstClr val="black"/>
                </a:solidFill>
              </a:rPr>
              <a:t> Cities Partnership Actions.</a:t>
            </a:r>
            <a:endParaRPr kumimoji="0" lang="en-GB" sz="162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72407E2-5E38-B88D-9160-1CDBD55A3A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564" y="-740618"/>
            <a:ext cx="4432702" cy="5884118"/>
          </a:xfrm>
          <a:prstGeom prst="rect">
            <a:avLst/>
          </a:prstGeom>
        </p:spPr>
      </p:pic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E772AE8A-BF28-2076-FAD9-63EEC27AFBAC}"/>
              </a:ext>
            </a:extLst>
          </p:cNvPr>
          <p:cNvCxnSpPr>
            <a:cxnSpLocks/>
          </p:cNvCxnSpPr>
          <p:nvPr/>
        </p:nvCxnSpPr>
        <p:spPr>
          <a:xfrm flipH="1" flipV="1">
            <a:off x="2309954" y="757149"/>
            <a:ext cx="2650889" cy="388843"/>
          </a:xfrm>
          <a:prstGeom prst="straightConnector1">
            <a:avLst/>
          </a:prstGeom>
          <a:noFill/>
          <a:ln w="12700" cap="flat" cmpd="sng" algn="ctr">
            <a:solidFill>
              <a:srgbClr val="F79646"/>
            </a:solidFill>
            <a:prstDash val="solid"/>
            <a:tailEnd type="triangle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264518447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BA9B81-DFE9-C11D-5B29-B22FB6CC12EC}"/>
              </a:ext>
            </a:extLst>
          </p:cNvPr>
          <p:cNvSpPr txBox="1">
            <a:spLocks/>
          </p:cNvSpPr>
          <p:nvPr/>
        </p:nvSpPr>
        <p:spPr>
          <a:xfrm>
            <a:off x="755577" y="771550"/>
            <a:ext cx="6624736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GB" sz="3200" dirty="0">
                <a:latin typeface="Ubuntu" panose="020B0504030602030204" pitchFamily="34" charset="0"/>
              </a:rPr>
              <a:t>Thank you for your attention!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D3A38B-B521-5C43-4C5E-60128462CDD7}"/>
              </a:ext>
            </a:extLst>
          </p:cNvPr>
          <p:cNvSpPr/>
          <p:nvPr/>
        </p:nvSpPr>
        <p:spPr>
          <a:xfrm>
            <a:off x="2397679" y="3100586"/>
            <a:ext cx="67322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>
                <a:solidFill>
                  <a:srgbClr val="4B7B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GB" sz="2800" dirty="0" err="1">
                <a:solidFill>
                  <a:srgbClr val="4B7B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UrbanAgenda</a:t>
            </a:r>
            <a:endParaRPr lang="en-GB" sz="2800" dirty="0">
              <a:solidFill>
                <a:srgbClr val="4B7B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1BC94E-D4FB-0564-5126-9035410CCEE3}"/>
              </a:ext>
            </a:extLst>
          </p:cNvPr>
          <p:cNvSpPr/>
          <p:nvPr/>
        </p:nvSpPr>
        <p:spPr>
          <a:xfrm>
            <a:off x="2397679" y="1647246"/>
            <a:ext cx="67322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 err="1">
                <a:solidFill>
                  <a:srgbClr val="4B7B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no.cavallo@cittametropolitana.bo.it</a:t>
            </a:r>
            <a:endParaRPr lang="en-GB" sz="2800" dirty="0">
              <a:solidFill>
                <a:srgbClr val="4B7B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800" dirty="0">
              <a:solidFill>
                <a:srgbClr val="4B7B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A00BC4-8440-6BD2-CC45-8D94EE78FB2E}"/>
              </a:ext>
            </a:extLst>
          </p:cNvPr>
          <p:cNvSpPr/>
          <p:nvPr/>
        </p:nvSpPr>
        <p:spPr>
          <a:xfrm>
            <a:off x="2397679" y="2352443"/>
            <a:ext cx="67322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>
                <a:solidFill>
                  <a:srgbClr val="4B7B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rbanagenda.urban-initiative.eu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82117D-0574-020C-7D7E-DC7D6E0C3652}"/>
              </a:ext>
            </a:extLst>
          </p:cNvPr>
          <p:cNvSpPr/>
          <p:nvPr/>
        </p:nvSpPr>
        <p:spPr>
          <a:xfrm>
            <a:off x="2397679" y="3848730"/>
            <a:ext cx="67322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>
                <a:solidFill>
                  <a:srgbClr val="4B7B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Urban Agenda for the EU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98A6028-537D-AD30-8BF4-B6B0D574EFD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2" t="10800" r="6601" b="10800"/>
          <a:stretch/>
        </p:blipFill>
        <p:spPr>
          <a:xfrm>
            <a:off x="1656254" y="1632544"/>
            <a:ext cx="603579" cy="54668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2CDA72C-3B16-43C3-C282-0383425D9A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255" y="2355726"/>
            <a:ext cx="649817" cy="6676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11CFACF-A1E7-D4CF-48D9-2E1F0EFF37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255" y="3099727"/>
            <a:ext cx="581731" cy="54477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D20362-C89E-949D-DFBF-8F0586B0D85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255" y="3848731"/>
            <a:ext cx="547531" cy="5232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9496696-06FD-0894-2521-19039924C0A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920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2D20D-578A-F8F8-6020-1EFE497AC8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AB9A87B-1AE9-04C5-D9D6-3E876D0B2C9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3" name="Picture 2" descr="A group of people sitting in a room&#10;&#10;AI-generated content may be incorrect.">
            <a:extLst>
              <a:ext uri="{FF2B5EF4-FFF2-40B4-BE49-F238E27FC236}">
                <a16:creationId xmlns:a16="http://schemas.microsoft.com/office/drawing/2014/main" id="{5E999644-4D83-2349-FFA1-4A8DD523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759" b="15303"/>
          <a:stretch>
            <a:fillRect/>
          </a:stretch>
        </p:blipFill>
        <p:spPr>
          <a:xfrm>
            <a:off x="0" y="-14926"/>
            <a:ext cx="9144000" cy="51435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1C153F8-3A3D-7D37-6DE6-B7EA8988BA16}"/>
              </a:ext>
            </a:extLst>
          </p:cNvPr>
          <p:cNvSpPr/>
          <p:nvPr/>
        </p:nvSpPr>
        <p:spPr>
          <a:xfrm>
            <a:off x="845587" y="654537"/>
            <a:ext cx="7712474" cy="3834427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5BD5E9A-D656-3528-B7B7-D5A43C223C3B}"/>
              </a:ext>
            </a:extLst>
          </p:cNvPr>
          <p:cNvSpPr txBox="1"/>
          <p:nvPr/>
        </p:nvSpPr>
        <p:spPr>
          <a:xfrm>
            <a:off x="948761" y="1983877"/>
            <a:ext cx="7506125" cy="2154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Launched in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December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Consists of 32 members</a:t>
            </a:r>
          </a:p>
          <a:p>
            <a:endParaRPr lang="en-US" b="1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  <a:p>
            <a:pPr>
              <a:lnSpc>
                <a:spcPct val="114000"/>
              </a:lnSpc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It’s mission is to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contribute to the development of an implementation framework for green infrastructure at local, regional/national and EU levels, including the provisions of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Article no. 8 of the Nature Restoration Regulation.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Ubuntu" panose="020B0504030602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FF4F686-D7C1-16BB-79DC-D667E032CB0D}"/>
              </a:ext>
            </a:extLst>
          </p:cNvPr>
          <p:cNvSpPr txBox="1">
            <a:spLocks/>
          </p:cNvSpPr>
          <p:nvPr/>
        </p:nvSpPr>
        <p:spPr>
          <a:xfrm>
            <a:off x="1215417" y="874048"/>
            <a:ext cx="5328592" cy="9309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800" dirty="0">
                <a:latin typeface="Ubuntu" panose="020B0504030602030204" pitchFamily="34" charset="0"/>
              </a:rPr>
              <a:t>The </a:t>
            </a:r>
            <a:r>
              <a:rPr lang="ro-RO" sz="2800" dirty="0" err="1">
                <a:latin typeface="Ubuntu" panose="020B0504030602030204" pitchFamily="34" charset="0"/>
              </a:rPr>
              <a:t>Greening</a:t>
            </a:r>
            <a:r>
              <a:rPr lang="ro-RO" sz="2800" dirty="0">
                <a:latin typeface="Ubuntu" panose="020B0504030602030204" pitchFamily="34" charset="0"/>
              </a:rPr>
              <a:t> </a:t>
            </a:r>
            <a:r>
              <a:rPr lang="ro-RO" sz="2800" dirty="0" err="1">
                <a:latin typeface="Ubuntu" panose="020B0504030602030204" pitchFamily="34" charset="0"/>
              </a:rPr>
              <a:t>Cities</a:t>
            </a:r>
            <a:r>
              <a:rPr lang="ro-RO" sz="2800" dirty="0">
                <a:latin typeface="Ubuntu" panose="020B0504030602030204" pitchFamily="34" charset="0"/>
              </a:rPr>
              <a:t> </a:t>
            </a:r>
            <a:r>
              <a:rPr lang="ro-RO" sz="2800" dirty="0" err="1">
                <a:latin typeface="Ubuntu" panose="020B0504030602030204" pitchFamily="34" charset="0"/>
              </a:rPr>
              <a:t>Partnership</a:t>
            </a:r>
            <a:endParaRPr lang="nl-NL" sz="28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0972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3CACEE-80C9-88E5-4D12-02BEDC2B7F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5DA10E7-4016-2E6E-6E80-EAC590728F3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3D44C36-5F56-6759-62B9-4AA7CD1C43AF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" name="Picture 3" descr="A planter with plants on the side&#10;&#10;AI-generated content may be incorrect.">
            <a:extLst>
              <a:ext uri="{FF2B5EF4-FFF2-40B4-BE49-F238E27FC236}">
                <a16:creationId xmlns:a16="http://schemas.microsoft.com/office/drawing/2014/main" id="{B68012FE-F2DD-4AFF-FD67-C82B304461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95" r="1081"/>
          <a:stretch>
            <a:fillRect/>
          </a:stretch>
        </p:blipFill>
        <p:spPr>
          <a:xfrm>
            <a:off x="7014677" y="-20538"/>
            <a:ext cx="2455155" cy="5524078"/>
          </a:xfrm>
          <a:prstGeom prst="rect">
            <a:avLst/>
          </a:prstGeom>
        </p:spPr>
      </p:pic>
      <p:pic>
        <p:nvPicPr>
          <p:cNvPr id="5" name="Picture 4" descr="A building with green plants on top of it&#10;&#10;AI-generated content may be incorrect.">
            <a:extLst>
              <a:ext uri="{FF2B5EF4-FFF2-40B4-BE49-F238E27FC236}">
                <a16:creationId xmlns:a16="http://schemas.microsoft.com/office/drawing/2014/main" id="{07F3CF80-E216-EB6A-BDF6-E29C9730F0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0264"/>
          <a:stretch>
            <a:fillRect/>
          </a:stretch>
        </p:blipFill>
        <p:spPr>
          <a:xfrm>
            <a:off x="2263017" y="2"/>
            <a:ext cx="2455145" cy="5524077"/>
          </a:xfrm>
          <a:prstGeom prst="rect">
            <a:avLst/>
          </a:prstGeom>
        </p:spPr>
      </p:pic>
      <p:pic>
        <p:nvPicPr>
          <p:cNvPr id="6" name="Picture 5" descr="A building with plants growing on the side&#10;&#10;AI-generated content may be incorrect.">
            <a:extLst>
              <a:ext uri="{FF2B5EF4-FFF2-40B4-BE49-F238E27FC236}">
                <a16:creationId xmlns:a16="http://schemas.microsoft.com/office/drawing/2014/main" id="{55B8CDC2-B985-D051-2025-CCFFD4CE6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91" r="-636"/>
          <a:stretch>
            <a:fillRect/>
          </a:stretch>
        </p:blipFill>
        <p:spPr>
          <a:xfrm flipH="1">
            <a:off x="-155266" y="0"/>
            <a:ext cx="2483171" cy="5524078"/>
          </a:xfrm>
          <a:prstGeom prst="rect">
            <a:avLst/>
          </a:prstGeom>
        </p:spPr>
      </p:pic>
      <p:pic>
        <p:nvPicPr>
          <p:cNvPr id="7" name="Picture 6" descr="A river with trees and people in it&#10;&#10;AI-generated content may be incorrect.">
            <a:extLst>
              <a:ext uri="{FF2B5EF4-FFF2-40B4-BE49-F238E27FC236}">
                <a16:creationId xmlns:a16="http://schemas.microsoft.com/office/drawing/2014/main" id="{8DD0C07B-36A4-CD08-5107-53A716D166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2" r="26472" b="20377"/>
          <a:stretch>
            <a:fillRect/>
          </a:stretch>
        </p:blipFill>
        <p:spPr>
          <a:xfrm>
            <a:off x="4630243" y="0"/>
            <a:ext cx="2455155" cy="552407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2D55EFA-8ED3-3B5B-D142-2B443BB167F6}"/>
              </a:ext>
            </a:extLst>
          </p:cNvPr>
          <p:cNvGrpSpPr/>
          <p:nvPr/>
        </p:nvGrpSpPr>
        <p:grpSpPr>
          <a:xfrm>
            <a:off x="7819597" y="429047"/>
            <a:ext cx="956685" cy="956685"/>
            <a:chOff x="11004300" y="184305"/>
            <a:chExt cx="1187700" cy="11877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FFEF646-E6A5-807F-D323-CC607181B12E}"/>
                </a:ext>
              </a:extLst>
            </p:cNvPr>
            <p:cNvSpPr/>
            <p:nvPr/>
          </p:nvSpPr>
          <p:spPr>
            <a:xfrm>
              <a:off x="11004300" y="184305"/>
              <a:ext cx="1187700" cy="11877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R" sz="240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DF209EC-2EC6-2CD4-4B7E-5533C3082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58150" y="238155"/>
              <a:ext cx="1080000" cy="1080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D066D96-E0EF-AA09-B980-3B19B4146594}"/>
              </a:ext>
            </a:extLst>
          </p:cNvPr>
          <p:cNvSpPr/>
          <p:nvPr/>
        </p:nvSpPr>
        <p:spPr>
          <a:xfrm>
            <a:off x="2058602" y="4222944"/>
            <a:ext cx="6654869" cy="569148"/>
          </a:xfrm>
          <a:prstGeom prst="roundRect">
            <a:avLst/>
          </a:prstGeom>
          <a:solidFill>
            <a:srgbClr val="0DD7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Ubuntu" panose="020B0504030602030204" pitchFamily="34" charset="0"/>
              </a:rPr>
              <a:t>How do we make our cities greener?</a:t>
            </a:r>
            <a:endParaRPr lang="en-GR" sz="2800" b="1" dirty="0">
              <a:solidFill>
                <a:schemeClr val="bg1"/>
              </a:solidFill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563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E2AD45-7C4B-4372-37D6-F56159FF9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33A3B42-D3BE-56C7-9B83-19CD61E5987D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E282608-33B2-C3D7-3CF7-09974B664DB0}"/>
              </a:ext>
            </a:extLst>
          </p:cNvPr>
          <p:cNvSpPr/>
          <p:nvPr/>
        </p:nvSpPr>
        <p:spPr>
          <a:xfrm>
            <a:off x="-29862" y="3983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804A3F-29BB-55C0-6556-97DD8C323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063" y="94372"/>
            <a:ext cx="3499643" cy="494845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4" name="Picture 13" descr="A diagram of a diagram&#10;&#10;AI-generated content may be incorrect.">
            <a:extLst>
              <a:ext uri="{FF2B5EF4-FFF2-40B4-BE49-F238E27FC236}">
                <a16:creationId xmlns:a16="http://schemas.microsoft.com/office/drawing/2014/main" id="{F2712DF4-B5E0-9C7F-05EC-6054932E3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530" y="94371"/>
            <a:ext cx="3503568" cy="495475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11102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B78A2-A12A-B022-D086-3FF8104AE6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1D1EDBD-F773-6191-CC63-121EA0FAE5F1}"/>
              </a:ext>
            </a:extLst>
          </p:cNvPr>
          <p:cNvSpPr/>
          <p:nvPr/>
        </p:nvSpPr>
        <p:spPr>
          <a:xfrm>
            <a:off x="0" y="4299942"/>
            <a:ext cx="95405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C59114C-2D1B-D0BE-1F73-132FB09DB2DE}"/>
              </a:ext>
            </a:extLst>
          </p:cNvPr>
          <p:cNvSpPr txBox="1">
            <a:spLocks/>
          </p:cNvSpPr>
          <p:nvPr/>
        </p:nvSpPr>
        <p:spPr>
          <a:xfrm>
            <a:off x="389558" y="315166"/>
            <a:ext cx="7847661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F1592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o-RO" sz="2400" dirty="0" err="1">
                <a:latin typeface="Ubuntu" panose="020B0504030602030204" pitchFamily="34" charset="0"/>
              </a:rPr>
              <a:t>Why</a:t>
            </a:r>
            <a:r>
              <a:rPr lang="ro-RO" sz="2400" dirty="0">
                <a:latin typeface="Ubuntu" panose="020B0504030602030204" pitchFamily="34" charset="0"/>
              </a:rPr>
              <a:t> are </a:t>
            </a:r>
            <a:r>
              <a:rPr lang="ro-RO" sz="2400" dirty="0" err="1">
                <a:latin typeface="Ubuntu" panose="020B0504030602030204" pitchFamily="34" charset="0"/>
              </a:rPr>
              <a:t>we</a:t>
            </a:r>
            <a:r>
              <a:rPr lang="ro-RO" sz="2400" dirty="0">
                <a:latin typeface="Ubuntu" panose="020B0504030602030204" pitchFamily="34" charset="0"/>
              </a:rPr>
              <a:t> </a:t>
            </a:r>
            <a:r>
              <a:rPr lang="ro-RO" sz="2400" dirty="0" err="1">
                <a:latin typeface="Ubuntu" panose="020B0504030602030204" pitchFamily="34" charset="0"/>
              </a:rPr>
              <a:t>here</a:t>
            </a:r>
            <a:r>
              <a:rPr lang="ro-RO" sz="2400" dirty="0">
                <a:latin typeface="Ubuntu" panose="020B0504030602030204" pitchFamily="34" charset="0"/>
              </a:rPr>
              <a:t>?</a:t>
            </a:r>
            <a:endParaRPr lang="en-GB" sz="2400" dirty="0">
              <a:latin typeface="Ubuntu" panose="020B0504030602030204" pitchFamily="34" charset="0"/>
            </a:endParaRPr>
          </a:p>
        </p:txBody>
      </p:sp>
      <p:sp>
        <p:nvSpPr>
          <p:cNvPr id="14" name="ZoneTexte 1">
            <a:extLst>
              <a:ext uri="{FF2B5EF4-FFF2-40B4-BE49-F238E27FC236}">
                <a16:creationId xmlns:a16="http://schemas.microsoft.com/office/drawing/2014/main" id="{767597BC-ECE4-8FE4-B864-024C3D19627E}"/>
              </a:ext>
            </a:extLst>
          </p:cNvPr>
          <p:cNvSpPr txBox="1"/>
          <p:nvPr/>
        </p:nvSpPr>
        <p:spPr>
          <a:xfrm>
            <a:off x="764778" y="1110308"/>
            <a:ext cx="7847661" cy="10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15000"/>
              </a:lnSpc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Reveal a first glimpse of the methodology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Ubuntu" panose="020B0504030602030204" pitchFamily="34" charset="0"/>
              </a:rPr>
              <a:t> for quantifying the demand for green infrastructure at local level that is being developed by the Greening Cities Partnership under the ESPON-GILL project;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23E0868-9A7B-D270-204A-CC778E231F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3" t="5486" r="3030" b="70025"/>
          <a:stretch>
            <a:fillRect/>
          </a:stretch>
        </p:blipFill>
        <p:spPr>
          <a:xfrm>
            <a:off x="7824460" y="267381"/>
            <a:ext cx="996012" cy="99443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3FA200-FCC4-9BEF-16AA-6E0C459679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43" y="1145734"/>
            <a:ext cx="701673" cy="70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552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5.0.0"/>
  <p:tag name="SLIDO_PRESENTATION_ID" val="b0f52925-e5c4-432d-b9a6-8d920221d531"/>
  <p:tag name="SLIDO_EVENT_UUID" val="2c67ff28-d960-40b6-a96f-98532710224e"/>
  <p:tag name="SLIDO_EVENT_SECTION_UUID" val="c8cdc293-ded3-434c-9816-c01ad31328a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heme/theme1.xml><?xml version="1.0" encoding="utf-8"?>
<a:theme xmlns:a="http://schemas.openxmlformats.org/drawingml/2006/main" name="UA_Circular Economy_ppt template">
  <a:themeElements>
    <a:clrScheme name="Office 2007 - 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A General_ppt template.potx" id="{B56D6873-8129-4581-8C2E-4A1B3B6FCA0D}" vid="{BC4FC7FC-F556-414E-BFA1-2A303539621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BDEE40DCD8E2419E01055EECC563B1" ma:contentTypeVersion="15" ma:contentTypeDescription="Create a new document." ma:contentTypeScope="" ma:versionID="adf1b2c6afdd17156ae4fb6d996c1a7b">
  <xsd:schema xmlns:xsd="http://www.w3.org/2001/XMLSchema" xmlns:xs="http://www.w3.org/2001/XMLSchema" xmlns:p="http://schemas.microsoft.com/office/2006/metadata/properties" xmlns:ns2="f58146b2-274b-4226-9504-207b8a4cc1ba" xmlns:ns3="0d10a1db-cb7b-47df-a367-3cb4a7090fad" targetNamespace="http://schemas.microsoft.com/office/2006/metadata/properties" ma:root="true" ma:fieldsID="b5a9048d7d20ee5aded48bb649c0bdd9" ns2:_="" ns3:_="">
    <xsd:import namespace="f58146b2-274b-4226-9504-207b8a4cc1ba"/>
    <xsd:import namespace="0d10a1db-cb7b-47df-a367-3cb4a7090f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8146b2-274b-4226-9504-207b8a4cc1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a4fd23e0-4e92-4052-93a3-35dc230bb37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10a1db-cb7b-47df-a367-3cb4a7090fa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3fe14a90-41b1-4696-a725-4016c3e23af1}" ma:internalName="TaxCatchAll" ma:showField="CatchAllData" ma:web="0d10a1db-cb7b-47df-a367-3cb4a7090f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58146b2-274b-4226-9504-207b8a4cc1ba">
      <Terms xmlns="http://schemas.microsoft.com/office/infopath/2007/PartnerControls"/>
    </lcf76f155ced4ddcb4097134ff3c332f>
    <TaxCatchAll xmlns="0d10a1db-cb7b-47df-a367-3cb4a7090fad" xsi:nil="true"/>
  </documentManagement>
</p:properties>
</file>

<file path=customXml/itemProps1.xml><?xml version="1.0" encoding="utf-8"?>
<ds:datastoreItem xmlns:ds="http://schemas.openxmlformats.org/officeDocument/2006/customXml" ds:itemID="{3AEF6D97-E213-41C5-85B2-ABEFB06BAA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8146b2-274b-4226-9504-207b8a4cc1ba"/>
    <ds:schemaRef ds:uri="0d10a1db-cb7b-47df-a367-3cb4a7090f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1ED6F38-4BC9-492F-B4CE-8BB6A39841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94D49A-622A-4365-B28F-97A101EE6B97}">
  <ds:schemaRefs>
    <ds:schemaRef ds:uri="http://schemas.microsoft.com/office/2006/documentManagement/types"/>
    <ds:schemaRef ds:uri="f58146b2-274b-4226-9504-207b8a4cc1ba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terms/"/>
    <ds:schemaRef ds:uri="http://schemas.openxmlformats.org/package/2006/metadata/core-properties"/>
    <ds:schemaRef ds:uri="0d10a1db-cb7b-47df-a367-3cb4a7090fad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41</TotalTime>
  <Words>1697</Words>
  <Application>Microsoft Macintosh PowerPoint</Application>
  <PresentationFormat>On-screen Show (16:9)</PresentationFormat>
  <Paragraphs>229</Paragraphs>
  <Slides>57</Slides>
  <Notes>4</Notes>
  <HiddenSlides>5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Arial</vt:lpstr>
      <vt:lpstr>Calibri</vt:lpstr>
      <vt:lpstr>Montserrat</vt:lpstr>
      <vt:lpstr>Noto Sans</vt:lpstr>
      <vt:lpstr>Open Sans</vt:lpstr>
      <vt:lpstr>Open Sans Extrabold</vt:lpstr>
      <vt:lpstr>Times New Roman</vt:lpstr>
      <vt:lpstr>Ubuntu</vt:lpstr>
      <vt:lpstr>Verdana</vt:lpstr>
      <vt:lpstr>Wingdings</vt:lpstr>
      <vt:lpstr>UA_Circular Economy_ppt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5 ICLEI Pathways</vt:lpstr>
      <vt:lpstr>ICLEI around the World</vt:lpstr>
      <vt:lpstr>PowerPoint Presentation</vt:lpstr>
      <vt:lpstr>Thank you!</vt:lpstr>
      <vt:lpstr>Contact 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aft template</dc:title>
  <dc:creator>veneta.paneva@e40.eu</dc:creator>
  <cp:lastModifiedBy>Haris Biskos</cp:lastModifiedBy>
  <cp:revision>17</cp:revision>
  <dcterms:created xsi:type="dcterms:W3CDTF">2023-08-17T14:04:03Z</dcterms:created>
  <dcterms:modified xsi:type="dcterms:W3CDTF">2025-10-15T13:3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BDEE40DCD8E2419E01055EECC563B1</vt:lpwstr>
  </property>
  <property fmtid="{D5CDD505-2E9C-101B-9397-08002B2CF9AE}" pid="3" name="Order">
    <vt:r8>6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